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customXml/itemProps26.xml" ContentType="application/vnd.openxmlformats-officedocument.customXmlProperties+xml"/>
  <Override PartName="/customXml/itemProps27.xml" ContentType="application/vnd.openxmlformats-officedocument.customXmlProperties+xml"/>
  <Override PartName="/customXml/itemProps28.xml" ContentType="application/vnd.openxmlformats-officedocument.customXmlProperties+xml"/>
  <Override PartName="/customXml/itemProps29.xml" ContentType="application/vnd.openxmlformats-officedocument.customXmlProperties+xml"/>
  <Override PartName="/customXml/itemProps30.xml" ContentType="application/vnd.openxmlformats-officedocument.customXmlProperties+xml"/>
  <Override PartName="/customXml/itemProps31.xml" ContentType="application/vnd.openxmlformats-officedocument.customXmlProperties+xml"/>
  <Override PartName="/customXml/itemProps32.xml" ContentType="application/vnd.openxmlformats-officedocument.customXmlProperties+xml"/>
  <Override PartName="/customXml/itemProps33.xml" ContentType="application/vnd.openxmlformats-officedocument.customXmlProperties+xml"/>
  <Override PartName="/customXml/itemProps34.xml" ContentType="application/vnd.openxmlformats-officedocument.customXmlProperties+xml"/>
  <Override PartName="/customXml/itemProps35.xml" ContentType="application/vnd.openxmlformats-officedocument.customXmlProperties+xml"/>
  <Override PartName="/customXml/itemProps36.xml" ContentType="application/vnd.openxmlformats-officedocument.customXmlProperties+xml"/>
  <Override PartName="/customXml/itemProps37.xml" ContentType="application/vnd.openxmlformats-officedocument.customXmlProperties+xml"/>
  <Override PartName="/customXml/itemProps38.xml" ContentType="application/vnd.openxmlformats-officedocument.customXmlProperties+xml"/>
  <Override PartName="/customXml/itemProps39.xml" ContentType="application/vnd.openxmlformats-officedocument.customXmlProperties+xml"/>
  <Override PartName="/customXml/itemProps40.xml" ContentType="application/vnd.openxmlformats-officedocument.customXmlProperties+xml"/>
  <Override PartName="/customXml/itemProps41.xml" ContentType="application/vnd.openxmlformats-officedocument.customXmlProperties+xml"/>
  <Override PartName="/customXml/itemProps42.xml" ContentType="application/vnd.openxmlformats-officedocument.customXmlProperties+xml"/>
  <Override PartName="/customXml/itemProps43.xml" ContentType="application/vnd.openxmlformats-officedocument.customXmlProperties+xml"/>
  <Override PartName="/customXml/itemProps44.xml" ContentType="application/vnd.openxmlformats-officedocument.customXmlProperties+xml"/>
  <Override PartName="/customXml/itemProps45.xml" ContentType="application/vnd.openxmlformats-officedocument.customXmlProperties+xml"/>
  <Override PartName="/customXml/itemProps46.xml" ContentType="application/vnd.openxmlformats-officedocument.customXmlProperties+xml"/>
  <Override PartName="/customXml/itemProps47.xml" ContentType="application/vnd.openxmlformats-officedocument.customXmlProperties+xml"/>
  <Override PartName="/customXml/itemProps48.xml" ContentType="application/vnd.openxmlformats-officedocument.customXmlProperties+xml"/>
  <Override PartName="/customXml/itemProps49.xml" ContentType="application/vnd.openxmlformats-officedocument.customXmlProperties+xml"/>
  <Override PartName="/customXml/itemProps50.xml" ContentType="application/vnd.openxmlformats-officedocument.customXmlProperties+xml"/>
  <Override PartName="/customXml/itemProps51.xml" ContentType="application/vnd.openxmlformats-officedocument.customXmlProperties+xml"/>
  <Override PartName="/customXml/itemProps52.xml" ContentType="application/vnd.openxmlformats-officedocument.customXmlProperties+xml"/>
  <Override PartName="/customXml/itemProps53.xml" ContentType="application/vnd.openxmlformats-officedocument.customXmlProperties+xml"/>
  <Override PartName="/customXml/itemProps54.xml" ContentType="application/vnd.openxmlformats-officedocument.customXmlProperties+xml"/>
  <Override PartName="/customXml/itemProps55.xml" ContentType="application/vnd.openxmlformats-officedocument.customXmlProperties+xml"/>
  <Override PartName="/customXml/itemProps56.xml" ContentType="application/vnd.openxmlformats-officedocument.customXmlProperties+xml"/>
  <Override PartName="/customXml/itemProps57.xml" ContentType="application/vnd.openxmlformats-officedocument.customXmlProperties+xml"/>
  <Override PartName="/customXml/itemProps58.xml" ContentType="application/vnd.openxmlformats-officedocument.customXmlProperties+xml"/>
  <Override PartName="/customXml/itemProps59.xml" ContentType="application/vnd.openxmlformats-officedocument.customXmlProperties+xml"/>
  <Override PartName="/customXml/itemProps60.xml" ContentType="application/vnd.openxmlformats-officedocument.customXmlProperties+xml"/>
  <Override PartName="/customXml/itemProps61.xml" ContentType="application/vnd.openxmlformats-officedocument.customXmlProperties+xml"/>
  <Override PartName="/customXml/itemProps62.xml" ContentType="application/vnd.openxmlformats-officedocument.customXmlProperties+xml"/>
  <Override PartName="/customXml/itemProps63.xml" ContentType="application/vnd.openxmlformats-officedocument.customXmlProperties+xml"/>
  <Override PartName="/customXml/itemProps64.xml" ContentType="application/vnd.openxmlformats-officedocument.customXmlProperties+xml"/>
  <Override PartName="/customXml/itemProps65.xml" ContentType="application/vnd.openxmlformats-officedocument.customXmlProperties+xml"/>
  <Override PartName="/customXml/itemProps66.xml" ContentType="application/vnd.openxmlformats-officedocument.customXmlProperties+xml"/>
  <Override PartName="/customXml/itemProps67.xml" ContentType="application/vnd.openxmlformats-officedocument.customXmlProperties+xml"/>
  <Override PartName="/customXml/itemProps68.xml" ContentType="application/vnd.openxmlformats-officedocument.customXmlProperties+xml"/>
  <Override PartName="/customXml/itemProps69.xml" ContentType="application/vnd.openxmlformats-officedocument.customXmlProperties+xml"/>
  <Override PartName="/customXml/itemProps70.xml" ContentType="application/vnd.openxmlformats-officedocument.customXmlProperties+xml"/>
  <Override PartName="/customXml/itemProps71.xml" ContentType="application/vnd.openxmlformats-officedocument.customXmlProperties+xml"/>
  <Override PartName="/customXml/itemProps72.xml" ContentType="application/vnd.openxmlformats-officedocument.customXmlProperties+xml"/>
  <Override PartName="/customXml/itemProps73.xml" ContentType="application/vnd.openxmlformats-officedocument.customXmlProperties+xml"/>
  <Override PartName="/customXml/itemProps74.xml" ContentType="application/vnd.openxmlformats-officedocument.customXmlProperties+xml"/>
  <Override PartName="/customXml/itemProps75.xml" ContentType="application/vnd.openxmlformats-officedocument.customXmlProperties+xml"/>
  <Override PartName="/customXml/itemProps76.xml" ContentType="application/vnd.openxmlformats-officedocument.customXmlProperties+xml"/>
  <Override PartName="/customXml/itemProps77.xml" ContentType="application/vnd.openxmlformats-officedocument.customXmlProperties+xml"/>
  <Override PartName="/customXml/itemProps78.xml" ContentType="application/vnd.openxmlformats-officedocument.customXmlProperties+xml"/>
  <Override PartName="/customXml/itemProps79.xml" ContentType="application/vnd.openxmlformats-officedocument.customXmlProperties+xml"/>
  <Override PartName="/customXml/itemProps80.xml" ContentType="application/vnd.openxmlformats-officedocument.customXmlProperties+xml"/>
  <Override PartName="/customXml/itemProps81.xml" ContentType="application/vnd.openxmlformats-officedocument.customXmlProperties+xml"/>
  <Override PartName="/customXml/itemProps82.xml" ContentType="application/vnd.openxmlformats-officedocument.customXmlProperties+xml"/>
  <Override PartName="/customXml/itemProps83.xml" ContentType="application/vnd.openxmlformats-officedocument.customXmlProperties+xml"/>
  <Override PartName="/customXml/itemProps84.xml" ContentType="application/vnd.openxmlformats-officedocument.customXmlProperties+xml"/>
  <Override PartName="/customXml/itemProps85.xml" ContentType="application/vnd.openxmlformats-officedocument.customXmlProperties+xml"/>
  <Override PartName="/customXml/itemProps86.xml" ContentType="application/vnd.openxmlformats-officedocument.customXmlProperties+xml"/>
  <Override PartName="/customXml/itemProps87.xml" ContentType="application/vnd.openxmlformats-officedocument.customXmlProperties+xml"/>
  <Override PartName="/customXml/itemProps88.xml" ContentType="application/vnd.openxmlformats-officedocument.customXmlProperties+xml"/>
  <Override PartName="/customXml/itemProps89.xml" ContentType="application/vnd.openxmlformats-officedocument.customXmlProperties+xml"/>
  <Override PartName="/customXml/itemProps90.xml" ContentType="application/vnd.openxmlformats-officedocument.customXmlProperties+xml"/>
  <Override PartName="/customXml/itemProps91.xml" ContentType="application/vnd.openxmlformats-officedocument.customXmlProperties+xml"/>
  <Override PartName="/customXml/itemProps92.xml" ContentType="application/vnd.openxmlformats-officedocument.customXmlProperties+xml"/>
  <Override PartName="/customXml/itemProps93.xml" ContentType="application/vnd.openxmlformats-officedocument.customXmlProperties+xml"/>
  <Override PartName="/customXml/itemProps94.xml" ContentType="application/vnd.openxmlformats-officedocument.customXmlProperties+xml"/>
  <Override PartName="/customXml/itemProps95.xml" ContentType="application/vnd.openxmlformats-officedocument.customXmlProperties+xml"/>
  <Override PartName="/customXml/itemProps96.xml" ContentType="application/vnd.openxmlformats-officedocument.customXmlProperties+xml"/>
  <Override PartName="/customXml/itemProps97.xml" ContentType="application/vnd.openxmlformats-officedocument.customXmlProperties+xml"/>
  <Override PartName="/customXml/itemProps98.xml" ContentType="application/vnd.openxmlformats-officedocument.customXmlProperties+xml"/>
  <Override PartName="/customXml/itemProps99.xml" ContentType="application/vnd.openxmlformats-officedocument.customXmlProperties+xml"/>
  <Override PartName="/customXml/itemProps100.xml" ContentType="application/vnd.openxmlformats-officedocument.customXmlProperties+xml"/>
  <Override PartName="/customXml/itemProps101.xml" ContentType="application/vnd.openxmlformats-officedocument.customXmlProperties+xml"/>
  <Override PartName="/customXml/itemProps102.xml" ContentType="application/vnd.openxmlformats-officedocument.customXmlProperties+xml"/>
  <Override PartName="/customXml/itemProps103.xml" ContentType="application/vnd.openxmlformats-officedocument.customXmlProperties+xml"/>
  <Override PartName="/customXml/itemProps104.xml" ContentType="application/vnd.openxmlformats-officedocument.customXmlProperties+xml"/>
  <Override PartName="/customXml/itemProps105.xml" ContentType="application/vnd.openxmlformats-officedocument.customXmlProperties+xml"/>
  <Override PartName="/customXml/itemProps106.xml" ContentType="application/vnd.openxmlformats-officedocument.customXmlProperties+xml"/>
  <Override PartName="/customXml/itemProps107.xml" ContentType="application/vnd.openxmlformats-officedocument.customXmlProperties+xml"/>
  <Override PartName="/customXml/itemProps108.xml" ContentType="application/vnd.openxmlformats-officedocument.customXmlProperties+xml"/>
  <Override PartName="/customXml/itemProps109.xml" ContentType="application/vnd.openxmlformats-officedocument.customXmlProperties+xml"/>
  <Override PartName="/customXml/itemProps110.xml" ContentType="application/vnd.openxmlformats-officedocument.customXmlProperties+xml"/>
  <Override PartName="/customXml/itemProps111.xml" ContentType="application/vnd.openxmlformats-officedocument.customXmlProperties+xml"/>
  <Override PartName="/customXml/itemProps112.xml" ContentType="application/vnd.openxmlformats-officedocument.customXmlProperties+xml"/>
  <Override PartName="/customXml/itemProps113.xml" ContentType="application/vnd.openxmlformats-officedocument.customXmlProperties+xml"/>
  <Override PartName="/customXml/itemProps114.xml" ContentType="application/vnd.openxmlformats-officedocument.customXmlProperties+xml"/>
  <Override PartName="/customXml/itemProps115.xml" ContentType="application/vnd.openxmlformats-officedocument.customXmlProperties+xml"/>
  <Override PartName="/customXml/itemProps116.xml" ContentType="application/vnd.openxmlformats-officedocument.customXmlProperties+xml"/>
  <Override PartName="/customXml/itemProps117.xml" ContentType="application/vnd.openxmlformats-officedocument.customXmlProperties+xml"/>
  <Override PartName="/customXml/itemProps118.xml" ContentType="application/vnd.openxmlformats-officedocument.customXmlProperties+xml"/>
  <Override PartName="/customXml/itemProps119.xml" ContentType="application/vnd.openxmlformats-officedocument.customXmlProperties+xml"/>
  <Override PartName="/customXml/itemProps120.xml" ContentType="application/vnd.openxmlformats-officedocument.customXmlProperties+xml"/>
  <Override PartName="/customXml/itemProps121.xml" ContentType="application/vnd.openxmlformats-officedocument.customXmlProperties+xml"/>
  <Override PartName="/customXml/itemProps122.xml" ContentType="application/vnd.openxmlformats-officedocument.customXmlProperties+xml"/>
  <Override PartName="/customXml/itemProps123.xml" ContentType="application/vnd.openxmlformats-officedocument.customXmlProperties+xml"/>
  <Override PartName="/customXml/itemProps124.xml" ContentType="application/vnd.openxmlformats-officedocument.customXmlProperties+xml"/>
  <Override PartName="/customXml/itemProps125.xml" ContentType="application/vnd.openxmlformats-officedocument.customXmlProperties+xml"/>
  <Override PartName="/customXml/itemProps126.xml" ContentType="application/vnd.openxmlformats-officedocument.customXmlProperties+xml"/>
  <Override PartName="/customXml/itemProps127.xml" ContentType="application/vnd.openxmlformats-officedocument.customXmlProperties+xml"/>
  <Override PartName="/customXml/itemProps128.xml" ContentType="application/vnd.openxmlformats-officedocument.customXmlProperties+xml"/>
  <Override PartName="/customXml/itemProps129.xml" ContentType="application/vnd.openxmlformats-officedocument.customXmlProperties+xml"/>
  <Override PartName="/customXml/itemProps130.xml" ContentType="application/vnd.openxmlformats-officedocument.customXmlProperties+xml"/>
  <Override PartName="/customXml/itemProps131.xml" ContentType="application/vnd.openxmlformats-officedocument.customXmlProperties+xml"/>
  <Override PartName="/customXml/itemProps132.xml" ContentType="application/vnd.openxmlformats-officedocument.customXmlProperties+xml"/>
  <Override PartName="/customXml/itemProps133.xml" ContentType="application/vnd.openxmlformats-officedocument.customXmlProperties+xml"/>
  <Override PartName="/customXml/itemProps134.xml" ContentType="application/vnd.openxmlformats-officedocument.customXmlProperties+xml"/>
  <Override PartName="/customXml/itemProps135.xml" ContentType="application/vnd.openxmlformats-officedocument.customXmlProperties+xml"/>
  <Override PartName="/customXml/itemProps136.xml" ContentType="application/vnd.openxmlformats-officedocument.customXmlProperties+xml"/>
  <Override PartName="/customXml/itemProps137.xml" ContentType="application/vnd.openxmlformats-officedocument.customXmlProperties+xml"/>
  <Override PartName="/customXml/itemProps138.xml" ContentType="application/vnd.openxmlformats-officedocument.customXmlProperties+xml"/>
  <Override PartName="/customXml/itemProps139.xml" ContentType="application/vnd.openxmlformats-officedocument.customXmlProperties+xml"/>
  <Override PartName="/customXml/itemProps140.xml" ContentType="application/vnd.openxmlformats-officedocument.customXmlProperties+xml"/>
  <Override PartName="/customXml/itemProps141.xml" ContentType="application/vnd.openxmlformats-officedocument.customXmlProperties+xml"/>
  <Override PartName="/customXml/itemProps142.xml" ContentType="application/vnd.openxmlformats-officedocument.customXmlProperties+xml"/>
  <Override PartName="/customXml/itemProps143.xml" ContentType="application/vnd.openxmlformats-officedocument.customXmlProperties+xml"/>
  <Override PartName="/customXml/itemProps144.xml" ContentType="application/vnd.openxmlformats-officedocument.customXmlProperties+xml"/>
  <Override PartName="/customXml/itemProps145.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media/image2.bin" ContentType="image/x-emf"/>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46"/>
  </p:sldMasterIdLst>
  <p:notesMasterIdLst>
    <p:notesMasterId r:id="rId149"/>
  </p:notesMasterIdLst>
  <p:handoutMasterIdLst>
    <p:handoutMasterId r:id="rId150"/>
  </p:handoutMasterIdLst>
  <p:sldIdLst>
    <p:sldId id="2145705745" r:id="rId147"/>
    <p:sldId id="256" r:id="rId148"/>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48B40CD-DCFD-4256-872E-30365CE333A5}" v="142" dt="2022-05-25T15:30:15.212"/>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4580" autoAdjust="0"/>
    <p:restoredTop sz="86410" autoAdjust="0"/>
  </p:normalViewPr>
  <p:slideViewPr>
    <p:cSldViewPr showGuides="1">
      <p:cViewPr varScale="1">
        <p:scale>
          <a:sx n="138" d="100"/>
          <a:sy n="138" d="100"/>
        </p:scale>
        <p:origin x="1224" y="150"/>
      </p:cViewPr>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showGuides="1">
      <p:cViewPr varScale="1">
        <p:scale>
          <a:sx n="90" d="100"/>
          <a:sy n="90" d="100"/>
        </p:scale>
        <p:origin x="2818" y="72"/>
      </p:cViewPr>
      <p:guideLst/>
    </p:cSldViewPr>
  </p:notes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customXml" Target="../customXml/item117.xml"/><Relationship Id="rId21" Type="http://schemas.openxmlformats.org/officeDocument/2006/relationships/customXml" Target="../customXml/item21.xml"/><Relationship Id="rId42" Type="http://schemas.openxmlformats.org/officeDocument/2006/relationships/customXml" Target="../customXml/item42.xml"/><Relationship Id="rId63" Type="http://schemas.openxmlformats.org/officeDocument/2006/relationships/customXml" Target="../customXml/item63.xml"/><Relationship Id="rId84" Type="http://schemas.openxmlformats.org/officeDocument/2006/relationships/customXml" Target="../customXml/item84.xml"/><Relationship Id="rId138" Type="http://schemas.openxmlformats.org/officeDocument/2006/relationships/customXml" Target="../customXml/item138.xml"/><Relationship Id="rId107" Type="http://schemas.openxmlformats.org/officeDocument/2006/relationships/customXml" Target="../customXml/item107.xml"/><Relationship Id="rId11" Type="http://schemas.openxmlformats.org/officeDocument/2006/relationships/customXml" Target="../customXml/item11.xml"/><Relationship Id="rId32" Type="http://schemas.openxmlformats.org/officeDocument/2006/relationships/customXml" Target="../customXml/item32.xml"/><Relationship Id="rId53" Type="http://schemas.openxmlformats.org/officeDocument/2006/relationships/customXml" Target="../customXml/item53.xml"/><Relationship Id="rId74" Type="http://schemas.openxmlformats.org/officeDocument/2006/relationships/customXml" Target="../customXml/item74.xml"/><Relationship Id="rId128" Type="http://schemas.openxmlformats.org/officeDocument/2006/relationships/customXml" Target="../customXml/item128.xml"/><Relationship Id="rId149" Type="http://schemas.openxmlformats.org/officeDocument/2006/relationships/notesMaster" Target="notesMasters/notesMaster1.xml"/><Relationship Id="rId5" Type="http://schemas.openxmlformats.org/officeDocument/2006/relationships/customXml" Target="../customXml/item5.xml"/><Relationship Id="rId95" Type="http://schemas.openxmlformats.org/officeDocument/2006/relationships/customXml" Target="../customXml/item95.xml"/><Relationship Id="rId22" Type="http://schemas.openxmlformats.org/officeDocument/2006/relationships/customXml" Target="../customXml/item22.xml"/><Relationship Id="rId27" Type="http://schemas.openxmlformats.org/officeDocument/2006/relationships/customXml" Target="../customXml/item27.xml"/><Relationship Id="rId43" Type="http://schemas.openxmlformats.org/officeDocument/2006/relationships/customXml" Target="../customXml/item43.xml"/><Relationship Id="rId48" Type="http://schemas.openxmlformats.org/officeDocument/2006/relationships/customXml" Target="../customXml/item48.xml"/><Relationship Id="rId64" Type="http://schemas.openxmlformats.org/officeDocument/2006/relationships/customXml" Target="../customXml/item64.xml"/><Relationship Id="rId69" Type="http://schemas.openxmlformats.org/officeDocument/2006/relationships/customXml" Target="../customXml/item69.xml"/><Relationship Id="rId113" Type="http://schemas.openxmlformats.org/officeDocument/2006/relationships/customXml" Target="../customXml/item113.xml"/><Relationship Id="rId118" Type="http://schemas.openxmlformats.org/officeDocument/2006/relationships/customXml" Target="../customXml/item118.xml"/><Relationship Id="rId134" Type="http://schemas.openxmlformats.org/officeDocument/2006/relationships/customXml" Target="../customXml/item134.xml"/><Relationship Id="rId139" Type="http://schemas.openxmlformats.org/officeDocument/2006/relationships/customXml" Target="../customXml/item139.xml"/><Relationship Id="rId80" Type="http://schemas.openxmlformats.org/officeDocument/2006/relationships/customXml" Target="../customXml/item80.xml"/><Relationship Id="rId85" Type="http://schemas.openxmlformats.org/officeDocument/2006/relationships/customXml" Target="../customXml/item85.xml"/><Relationship Id="rId150" Type="http://schemas.openxmlformats.org/officeDocument/2006/relationships/handoutMaster" Target="handoutMasters/handoutMaster1.xml"/><Relationship Id="rId155" Type="http://schemas.microsoft.com/office/2016/11/relationships/changesInfo" Target="changesInfos/changesInfo1.xml"/><Relationship Id="rId12" Type="http://schemas.openxmlformats.org/officeDocument/2006/relationships/customXml" Target="../customXml/item12.xml"/><Relationship Id="rId17" Type="http://schemas.openxmlformats.org/officeDocument/2006/relationships/customXml" Target="../customXml/item17.xml"/><Relationship Id="rId33" Type="http://schemas.openxmlformats.org/officeDocument/2006/relationships/customXml" Target="../customXml/item33.xml"/><Relationship Id="rId38" Type="http://schemas.openxmlformats.org/officeDocument/2006/relationships/customXml" Target="../customXml/item38.xml"/><Relationship Id="rId59" Type="http://schemas.openxmlformats.org/officeDocument/2006/relationships/customXml" Target="../customXml/item59.xml"/><Relationship Id="rId103" Type="http://schemas.openxmlformats.org/officeDocument/2006/relationships/customXml" Target="../customXml/item103.xml"/><Relationship Id="rId108" Type="http://schemas.openxmlformats.org/officeDocument/2006/relationships/customXml" Target="../customXml/item108.xml"/><Relationship Id="rId124" Type="http://schemas.openxmlformats.org/officeDocument/2006/relationships/customXml" Target="../customXml/item124.xml"/><Relationship Id="rId129" Type="http://schemas.openxmlformats.org/officeDocument/2006/relationships/customXml" Target="../customXml/item129.xml"/><Relationship Id="rId54" Type="http://schemas.openxmlformats.org/officeDocument/2006/relationships/customXml" Target="../customXml/item54.xml"/><Relationship Id="rId70" Type="http://schemas.openxmlformats.org/officeDocument/2006/relationships/customXml" Target="../customXml/item70.xml"/><Relationship Id="rId75" Type="http://schemas.openxmlformats.org/officeDocument/2006/relationships/customXml" Target="../customXml/item75.xml"/><Relationship Id="rId91" Type="http://schemas.openxmlformats.org/officeDocument/2006/relationships/customXml" Target="../customXml/item91.xml"/><Relationship Id="rId96" Type="http://schemas.openxmlformats.org/officeDocument/2006/relationships/customXml" Target="../customXml/item96.xml"/><Relationship Id="rId140" Type="http://schemas.openxmlformats.org/officeDocument/2006/relationships/customXml" Target="../customXml/item140.xml"/><Relationship Id="rId145" Type="http://schemas.openxmlformats.org/officeDocument/2006/relationships/customXml" Target="../customXml/item145.xml"/><Relationship Id="rId1" Type="http://schemas.openxmlformats.org/officeDocument/2006/relationships/customXml" Target="../customXml/item1.xml"/><Relationship Id="rId6" Type="http://schemas.openxmlformats.org/officeDocument/2006/relationships/customXml" Target="../customXml/item6.xml"/><Relationship Id="rId23" Type="http://schemas.openxmlformats.org/officeDocument/2006/relationships/customXml" Target="../customXml/item23.xml"/><Relationship Id="rId28" Type="http://schemas.openxmlformats.org/officeDocument/2006/relationships/customXml" Target="../customXml/item28.xml"/><Relationship Id="rId49" Type="http://schemas.openxmlformats.org/officeDocument/2006/relationships/customXml" Target="../customXml/item49.xml"/><Relationship Id="rId114" Type="http://schemas.openxmlformats.org/officeDocument/2006/relationships/customXml" Target="../customXml/item114.xml"/><Relationship Id="rId119" Type="http://schemas.openxmlformats.org/officeDocument/2006/relationships/customXml" Target="../customXml/item119.xml"/><Relationship Id="rId44" Type="http://schemas.openxmlformats.org/officeDocument/2006/relationships/customXml" Target="../customXml/item44.xml"/><Relationship Id="rId60" Type="http://schemas.openxmlformats.org/officeDocument/2006/relationships/customXml" Target="../customXml/item60.xml"/><Relationship Id="rId65" Type="http://schemas.openxmlformats.org/officeDocument/2006/relationships/customXml" Target="../customXml/item65.xml"/><Relationship Id="rId81" Type="http://schemas.openxmlformats.org/officeDocument/2006/relationships/customXml" Target="../customXml/item81.xml"/><Relationship Id="rId86" Type="http://schemas.openxmlformats.org/officeDocument/2006/relationships/customXml" Target="../customXml/item86.xml"/><Relationship Id="rId130" Type="http://schemas.openxmlformats.org/officeDocument/2006/relationships/customXml" Target="../customXml/item130.xml"/><Relationship Id="rId135" Type="http://schemas.openxmlformats.org/officeDocument/2006/relationships/customXml" Target="../customXml/item135.xml"/><Relationship Id="rId151" Type="http://schemas.openxmlformats.org/officeDocument/2006/relationships/presProps" Target="presProps.xml"/><Relationship Id="rId156" Type="http://schemas.microsoft.com/office/2015/10/relationships/revisionInfo" Target="revisionInfo.xml"/><Relationship Id="rId13" Type="http://schemas.openxmlformats.org/officeDocument/2006/relationships/customXml" Target="../customXml/item13.xml"/><Relationship Id="rId18" Type="http://schemas.openxmlformats.org/officeDocument/2006/relationships/customXml" Target="../customXml/item18.xml"/><Relationship Id="rId39" Type="http://schemas.openxmlformats.org/officeDocument/2006/relationships/customXml" Target="../customXml/item39.xml"/><Relationship Id="rId109" Type="http://schemas.openxmlformats.org/officeDocument/2006/relationships/customXml" Target="../customXml/item109.xml"/><Relationship Id="rId34" Type="http://schemas.openxmlformats.org/officeDocument/2006/relationships/customXml" Target="../customXml/item34.xml"/><Relationship Id="rId50" Type="http://schemas.openxmlformats.org/officeDocument/2006/relationships/customXml" Target="../customXml/item50.xml"/><Relationship Id="rId55" Type="http://schemas.openxmlformats.org/officeDocument/2006/relationships/customXml" Target="../customXml/item55.xml"/><Relationship Id="rId76" Type="http://schemas.openxmlformats.org/officeDocument/2006/relationships/customXml" Target="../customXml/item76.xml"/><Relationship Id="rId97" Type="http://schemas.openxmlformats.org/officeDocument/2006/relationships/customXml" Target="../customXml/item97.xml"/><Relationship Id="rId104" Type="http://schemas.openxmlformats.org/officeDocument/2006/relationships/customXml" Target="../customXml/item104.xml"/><Relationship Id="rId120" Type="http://schemas.openxmlformats.org/officeDocument/2006/relationships/customXml" Target="../customXml/item120.xml"/><Relationship Id="rId125" Type="http://schemas.openxmlformats.org/officeDocument/2006/relationships/customXml" Target="../customXml/item125.xml"/><Relationship Id="rId141" Type="http://schemas.openxmlformats.org/officeDocument/2006/relationships/customXml" Target="../customXml/item141.xml"/><Relationship Id="rId146" Type="http://schemas.openxmlformats.org/officeDocument/2006/relationships/slideMaster" Target="slideMasters/slideMaster1.xml"/><Relationship Id="rId7" Type="http://schemas.openxmlformats.org/officeDocument/2006/relationships/customXml" Target="../customXml/item7.xml"/><Relationship Id="rId71" Type="http://schemas.openxmlformats.org/officeDocument/2006/relationships/customXml" Target="../customXml/item71.xml"/><Relationship Id="rId92" Type="http://schemas.openxmlformats.org/officeDocument/2006/relationships/customXml" Target="../customXml/item92.xml"/><Relationship Id="rId2" Type="http://schemas.openxmlformats.org/officeDocument/2006/relationships/customXml" Target="../customXml/item2.xml"/><Relationship Id="rId29" Type="http://schemas.openxmlformats.org/officeDocument/2006/relationships/customXml" Target="../customXml/item29.xml"/><Relationship Id="rId24" Type="http://schemas.openxmlformats.org/officeDocument/2006/relationships/customXml" Target="../customXml/item24.xml"/><Relationship Id="rId40" Type="http://schemas.openxmlformats.org/officeDocument/2006/relationships/customXml" Target="../customXml/item40.xml"/><Relationship Id="rId45" Type="http://schemas.openxmlformats.org/officeDocument/2006/relationships/customXml" Target="../customXml/item45.xml"/><Relationship Id="rId66" Type="http://schemas.openxmlformats.org/officeDocument/2006/relationships/customXml" Target="../customXml/item66.xml"/><Relationship Id="rId87" Type="http://schemas.openxmlformats.org/officeDocument/2006/relationships/customXml" Target="../customXml/item87.xml"/><Relationship Id="rId110" Type="http://schemas.openxmlformats.org/officeDocument/2006/relationships/customXml" Target="../customXml/item110.xml"/><Relationship Id="rId115" Type="http://schemas.openxmlformats.org/officeDocument/2006/relationships/customXml" Target="../customXml/item115.xml"/><Relationship Id="rId131" Type="http://schemas.openxmlformats.org/officeDocument/2006/relationships/customXml" Target="../customXml/item131.xml"/><Relationship Id="rId136" Type="http://schemas.openxmlformats.org/officeDocument/2006/relationships/customXml" Target="../customXml/item136.xml"/><Relationship Id="rId61" Type="http://schemas.openxmlformats.org/officeDocument/2006/relationships/customXml" Target="../customXml/item61.xml"/><Relationship Id="rId82" Type="http://schemas.openxmlformats.org/officeDocument/2006/relationships/customXml" Target="../customXml/item82.xml"/><Relationship Id="rId152" Type="http://schemas.openxmlformats.org/officeDocument/2006/relationships/viewProps" Target="viewProps.xml"/><Relationship Id="rId19" Type="http://schemas.openxmlformats.org/officeDocument/2006/relationships/customXml" Target="../customXml/item19.xml"/><Relationship Id="rId14" Type="http://schemas.openxmlformats.org/officeDocument/2006/relationships/customXml" Target="../customXml/item14.xml"/><Relationship Id="rId30" Type="http://schemas.openxmlformats.org/officeDocument/2006/relationships/customXml" Target="../customXml/item30.xml"/><Relationship Id="rId35" Type="http://schemas.openxmlformats.org/officeDocument/2006/relationships/customXml" Target="../customXml/item35.xml"/><Relationship Id="rId56" Type="http://schemas.openxmlformats.org/officeDocument/2006/relationships/customXml" Target="../customXml/item56.xml"/><Relationship Id="rId77" Type="http://schemas.openxmlformats.org/officeDocument/2006/relationships/customXml" Target="../customXml/item77.xml"/><Relationship Id="rId100" Type="http://schemas.openxmlformats.org/officeDocument/2006/relationships/customXml" Target="../customXml/item100.xml"/><Relationship Id="rId105" Type="http://schemas.openxmlformats.org/officeDocument/2006/relationships/customXml" Target="../customXml/item105.xml"/><Relationship Id="rId126" Type="http://schemas.openxmlformats.org/officeDocument/2006/relationships/customXml" Target="../customXml/item126.xml"/><Relationship Id="rId147" Type="http://schemas.openxmlformats.org/officeDocument/2006/relationships/slide" Target="slides/slide1.xml"/><Relationship Id="rId8" Type="http://schemas.openxmlformats.org/officeDocument/2006/relationships/customXml" Target="../customXml/item8.xml"/><Relationship Id="rId51" Type="http://schemas.openxmlformats.org/officeDocument/2006/relationships/customXml" Target="../customXml/item51.xml"/><Relationship Id="rId72" Type="http://schemas.openxmlformats.org/officeDocument/2006/relationships/customXml" Target="../customXml/item72.xml"/><Relationship Id="rId93" Type="http://schemas.openxmlformats.org/officeDocument/2006/relationships/customXml" Target="../customXml/item93.xml"/><Relationship Id="rId98" Type="http://schemas.openxmlformats.org/officeDocument/2006/relationships/customXml" Target="../customXml/item98.xml"/><Relationship Id="rId121" Type="http://schemas.openxmlformats.org/officeDocument/2006/relationships/customXml" Target="../customXml/item121.xml"/><Relationship Id="rId142" Type="http://schemas.openxmlformats.org/officeDocument/2006/relationships/customXml" Target="../customXml/item142.xml"/><Relationship Id="rId3" Type="http://schemas.openxmlformats.org/officeDocument/2006/relationships/customXml" Target="../customXml/item3.xml"/><Relationship Id="rId25" Type="http://schemas.openxmlformats.org/officeDocument/2006/relationships/customXml" Target="../customXml/item25.xml"/><Relationship Id="rId46" Type="http://schemas.openxmlformats.org/officeDocument/2006/relationships/customXml" Target="../customXml/item46.xml"/><Relationship Id="rId67" Type="http://schemas.openxmlformats.org/officeDocument/2006/relationships/customXml" Target="../customXml/item67.xml"/><Relationship Id="rId116" Type="http://schemas.openxmlformats.org/officeDocument/2006/relationships/customXml" Target="../customXml/item116.xml"/><Relationship Id="rId137" Type="http://schemas.openxmlformats.org/officeDocument/2006/relationships/customXml" Target="../customXml/item137.xml"/><Relationship Id="rId20" Type="http://schemas.openxmlformats.org/officeDocument/2006/relationships/customXml" Target="../customXml/item20.xml"/><Relationship Id="rId41" Type="http://schemas.openxmlformats.org/officeDocument/2006/relationships/customXml" Target="../customXml/item41.xml"/><Relationship Id="rId62" Type="http://schemas.openxmlformats.org/officeDocument/2006/relationships/customXml" Target="../customXml/item62.xml"/><Relationship Id="rId83" Type="http://schemas.openxmlformats.org/officeDocument/2006/relationships/customXml" Target="../customXml/item83.xml"/><Relationship Id="rId88" Type="http://schemas.openxmlformats.org/officeDocument/2006/relationships/customXml" Target="../customXml/item88.xml"/><Relationship Id="rId111" Type="http://schemas.openxmlformats.org/officeDocument/2006/relationships/customXml" Target="../customXml/item111.xml"/><Relationship Id="rId132" Type="http://schemas.openxmlformats.org/officeDocument/2006/relationships/customXml" Target="../customXml/item132.xml"/><Relationship Id="rId153" Type="http://schemas.openxmlformats.org/officeDocument/2006/relationships/theme" Target="theme/theme1.xml"/><Relationship Id="rId15" Type="http://schemas.openxmlformats.org/officeDocument/2006/relationships/customXml" Target="../customXml/item15.xml"/><Relationship Id="rId36" Type="http://schemas.openxmlformats.org/officeDocument/2006/relationships/customXml" Target="../customXml/item36.xml"/><Relationship Id="rId57" Type="http://schemas.openxmlformats.org/officeDocument/2006/relationships/customXml" Target="../customXml/item57.xml"/><Relationship Id="rId106" Type="http://schemas.openxmlformats.org/officeDocument/2006/relationships/customXml" Target="../customXml/item106.xml"/><Relationship Id="rId127" Type="http://schemas.openxmlformats.org/officeDocument/2006/relationships/customXml" Target="../customXml/item127.xml"/><Relationship Id="rId10" Type="http://schemas.openxmlformats.org/officeDocument/2006/relationships/customXml" Target="../customXml/item10.xml"/><Relationship Id="rId31" Type="http://schemas.openxmlformats.org/officeDocument/2006/relationships/customXml" Target="../customXml/item31.xml"/><Relationship Id="rId52" Type="http://schemas.openxmlformats.org/officeDocument/2006/relationships/customXml" Target="../customXml/item52.xml"/><Relationship Id="rId73" Type="http://schemas.openxmlformats.org/officeDocument/2006/relationships/customXml" Target="../customXml/item73.xml"/><Relationship Id="rId78" Type="http://schemas.openxmlformats.org/officeDocument/2006/relationships/customXml" Target="../customXml/item78.xml"/><Relationship Id="rId94" Type="http://schemas.openxmlformats.org/officeDocument/2006/relationships/customXml" Target="../customXml/item94.xml"/><Relationship Id="rId99" Type="http://schemas.openxmlformats.org/officeDocument/2006/relationships/customXml" Target="../customXml/item99.xml"/><Relationship Id="rId101" Type="http://schemas.openxmlformats.org/officeDocument/2006/relationships/customXml" Target="../customXml/item101.xml"/><Relationship Id="rId122" Type="http://schemas.openxmlformats.org/officeDocument/2006/relationships/customXml" Target="../customXml/item122.xml"/><Relationship Id="rId143" Type="http://schemas.openxmlformats.org/officeDocument/2006/relationships/customXml" Target="../customXml/item143.xml"/><Relationship Id="rId148" Type="http://schemas.openxmlformats.org/officeDocument/2006/relationships/slide" Target="slides/slide2.xml"/><Relationship Id="rId4" Type="http://schemas.openxmlformats.org/officeDocument/2006/relationships/customXml" Target="../customXml/item4.xml"/><Relationship Id="rId9" Type="http://schemas.openxmlformats.org/officeDocument/2006/relationships/customXml" Target="../customXml/item9.xml"/><Relationship Id="rId26" Type="http://schemas.openxmlformats.org/officeDocument/2006/relationships/customXml" Target="../customXml/item26.xml"/><Relationship Id="rId47" Type="http://schemas.openxmlformats.org/officeDocument/2006/relationships/customXml" Target="../customXml/item47.xml"/><Relationship Id="rId68" Type="http://schemas.openxmlformats.org/officeDocument/2006/relationships/customXml" Target="../customXml/item68.xml"/><Relationship Id="rId89" Type="http://schemas.openxmlformats.org/officeDocument/2006/relationships/customXml" Target="../customXml/item89.xml"/><Relationship Id="rId112" Type="http://schemas.openxmlformats.org/officeDocument/2006/relationships/customXml" Target="../customXml/item112.xml"/><Relationship Id="rId133" Type="http://schemas.openxmlformats.org/officeDocument/2006/relationships/customXml" Target="../customXml/item133.xml"/><Relationship Id="rId154" Type="http://schemas.openxmlformats.org/officeDocument/2006/relationships/tableStyles" Target="tableStyles.xml"/><Relationship Id="rId16" Type="http://schemas.openxmlformats.org/officeDocument/2006/relationships/customXml" Target="../customXml/item16.xml"/><Relationship Id="rId37" Type="http://schemas.openxmlformats.org/officeDocument/2006/relationships/customXml" Target="../customXml/item37.xml"/><Relationship Id="rId58" Type="http://schemas.openxmlformats.org/officeDocument/2006/relationships/customXml" Target="../customXml/item58.xml"/><Relationship Id="rId79" Type="http://schemas.openxmlformats.org/officeDocument/2006/relationships/customXml" Target="../customXml/item79.xml"/><Relationship Id="rId102" Type="http://schemas.openxmlformats.org/officeDocument/2006/relationships/customXml" Target="../customXml/item102.xml"/><Relationship Id="rId123" Type="http://schemas.openxmlformats.org/officeDocument/2006/relationships/customXml" Target="../customXml/item123.xml"/><Relationship Id="rId144" Type="http://schemas.openxmlformats.org/officeDocument/2006/relationships/customXml" Target="../customXml/item144.xml"/><Relationship Id="rId90" Type="http://schemas.openxmlformats.org/officeDocument/2006/relationships/customXml" Target="../customXml/item90.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emi de Vogel" userId="5948360e-7b9c-4a22-9ada-df5e8b901c82" providerId="ADAL" clId="{848B40CD-DCFD-4256-872E-30365CE333A5}"/>
    <pc:docChg chg="undo redo custSel addSld delSld modSld modMainMaster">
      <pc:chgData name="Remi de Vogel" userId="5948360e-7b9c-4a22-9ada-df5e8b901c82" providerId="ADAL" clId="{848B40CD-DCFD-4256-872E-30365CE333A5}" dt="2022-05-25T15:30:25.205" v="878" actId="20577"/>
      <pc:docMkLst>
        <pc:docMk/>
      </pc:docMkLst>
      <pc:sldChg chg="modSp mod">
        <pc:chgData name="Remi de Vogel" userId="5948360e-7b9c-4a22-9ada-df5e8b901c82" providerId="ADAL" clId="{848B40CD-DCFD-4256-872E-30365CE333A5}" dt="2022-05-25T13:55:51.106" v="691" actId="20577"/>
        <pc:sldMkLst>
          <pc:docMk/>
          <pc:sldMk cId="4262156920" sldId="260"/>
        </pc:sldMkLst>
        <pc:spChg chg="mod">
          <ac:chgData name="Remi de Vogel" userId="5948360e-7b9c-4a22-9ada-df5e8b901c82" providerId="ADAL" clId="{848B40CD-DCFD-4256-872E-30365CE333A5}" dt="2022-05-25T13:55:51.106" v="691" actId="20577"/>
          <ac:spMkLst>
            <pc:docMk/>
            <pc:sldMk cId="4262156920" sldId="260"/>
            <ac:spMk id="5" creationId="{41FDB2B1-FE3E-47DD-AC63-6A6FCC53B836}"/>
          </ac:spMkLst>
        </pc:spChg>
      </pc:sldChg>
      <pc:sldChg chg="modSp mod">
        <pc:chgData name="Remi de Vogel" userId="5948360e-7b9c-4a22-9ada-df5e8b901c82" providerId="ADAL" clId="{848B40CD-DCFD-4256-872E-30365CE333A5}" dt="2022-05-25T15:30:25.205" v="878" actId="20577"/>
        <pc:sldMkLst>
          <pc:docMk/>
          <pc:sldMk cId="1302685159" sldId="261"/>
        </pc:sldMkLst>
        <pc:spChg chg="mod">
          <ac:chgData name="Remi de Vogel" userId="5948360e-7b9c-4a22-9ada-df5e8b901c82" providerId="ADAL" clId="{848B40CD-DCFD-4256-872E-30365CE333A5}" dt="2022-05-25T15:30:25.205" v="878" actId="20577"/>
          <ac:spMkLst>
            <pc:docMk/>
            <pc:sldMk cId="1302685159" sldId="261"/>
            <ac:spMk id="26" creationId="{F14B691D-FACC-46D9-A3F7-DFEE519EED8B}"/>
          </ac:spMkLst>
        </pc:spChg>
      </pc:sldChg>
      <pc:sldChg chg="addSp delSp modSp mod modClrScheme chgLayout">
        <pc:chgData name="Remi de Vogel" userId="5948360e-7b9c-4a22-9ada-df5e8b901c82" providerId="ADAL" clId="{848B40CD-DCFD-4256-872E-30365CE333A5}" dt="2022-05-25T15:15:08.328" v="822" actId="20577"/>
        <pc:sldMkLst>
          <pc:docMk/>
          <pc:sldMk cId="3408361369" sldId="2433"/>
        </pc:sldMkLst>
        <pc:spChg chg="mod ord">
          <ac:chgData name="Remi de Vogel" userId="5948360e-7b9c-4a22-9ada-df5e8b901c82" providerId="ADAL" clId="{848B40CD-DCFD-4256-872E-30365CE333A5}" dt="2022-05-25T13:44:18.990" v="475" actId="700"/>
          <ac:spMkLst>
            <pc:docMk/>
            <pc:sldMk cId="3408361369" sldId="2433"/>
            <ac:spMk id="2" creationId="{05216DF8-B9AB-4518-BFC4-8931EE5F717F}"/>
          </ac:spMkLst>
        </pc:spChg>
        <pc:spChg chg="mod ord">
          <ac:chgData name="Remi de Vogel" userId="5948360e-7b9c-4a22-9ada-df5e8b901c82" providerId="ADAL" clId="{848B40CD-DCFD-4256-872E-30365CE333A5}" dt="2022-05-25T13:44:18.990" v="475" actId="700"/>
          <ac:spMkLst>
            <pc:docMk/>
            <pc:sldMk cId="3408361369" sldId="2433"/>
            <ac:spMk id="3" creationId="{B9CE1319-2EB1-4967-A6E7-219362E4CC02}"/>
          </ac:spMkLst>
        </pc:spChg>
        <pc:spChg chg="add del mod ord">
          <ac:chgData name="Remi de Vogel" userId="5948360e-7b9c-4a22-9ada-df5e8b901c82" providerId="ADAL" clId="{848B40CD-DCFD-4256-872E-30365CE333A5}" dt="2022-05-25T13:44:20.865" v="476" actId="478"/>
          <ac:spMkLst>
            <pc:docMk/>
            <pc:sldMk cId="3408361369" sldId="2433"/>
            <ac:spMk id="4" creationId="{CA17572F-8B0F-F6E7-FBA3-EBC5429D9C54}"/>
          </ac:spMkLst>
        </pc:spChg>
        <pc:spChg chg="mod ord">
          <ac:chgData name="Remi de Vogel" userId="5948360e-7b9c-4a22-9ada-df5e8b901c82" providerId="ADAL" clId="{848B40CD-DCFD-4256-872E-30365CE333A5}" dt="2022-05-25T13:44:18.990" v="475" actId="700"/>
          <ac:spMkLst>
            <pc:docMk/>
            <pc:sldMk cId="3408361369" sldId="2433"/>
            <ac:spMk id="9" creationId="{05EFD18F-A81A-42F0-EBAF-AA4613ECE2CD}"/>
          </ac:spMkLst>
        </pc:spChg>
        <pc:spChg chg="mod ord">
          <ac:chgData name="Remi de Vogel" userId="5948360e-7b9c-4a22-9ada-df5e8b901c82" providerId="ADAL" clId="{848B40CD-DCFD-4256-872E-30365CE333A5}" dt="2022-05-25T13:44:18.990" v="475" actId="700"/>
          <ac:spMkLst>
            <pc:docMk/>
            <pc:sldMk cId="3408361369" sldId="2433"/>
            <ac:spMk id="15" creationId="{61CD1645-9601-557D-CFB6-C30EBA739842}"/>
          </ac:spMkLst>
        </pc:spChg>
        <pc:spChg chg="mod">
          <ac:chgData name="Remi de Vogel" userId="5948360e-7b9c-4a22-9ada-df5e8b901c82" providerId="ADAL" clId="{848B40CD-DCFD-4256-872E-30365CE333A5}" dt="2022-05-25T15:15:08.328" v="822" actId="20577"/>
          <ac:spMkLst>
            <pc:docMk/>
            <pc:sldMk cId="3408361369" sldId="2433"/>
            <ac:spMk id="88" creationId="{E801AFD8-43FA-B751-D510-20D05C0FF27F}"/>
          </ac:spMkLst>
        </pc:spChg>
        <pc:spChg chg="del">
          <ac:chgData name="Remi de Vogel" userId="5948360e-7b9c-4a22-9ada-df5e8b901c82" providerId="ADAL" clId="{848B40CD-DCFD-4256-872E-30365CE333A5}" dt="2022-05-25T13:44:21.929" v="477" actId="478"/>
          <ac:spMkLst>
            <pc:docMk/>
            <pc:sldMk cId="3408361369" sldId="2433"/>
            <ac:spMk id="152" creationId="{876075F4-15C0-4E64-9136-E02A2C1075A0}"/>
          </ac:spMkLst>
        </pc:spChg>
        <pc:spChg chg="mod ord">
          <ac:chgData name="Remi de Vogel" userId="5948360e-7b9c-4a22-9ada-df5e8b901c82" providerId="ADAL" clId="{848B40CD-DCFD-4256-872E-30365CE333A5}" dt="2022-05-25T13:44:18.990" v="475" actId="700"/>
          <ac:spMkLst>
            <pc:docMk/>
            <pc:sldMk cId="3408361369" sldId="2433"/>
            <ac:spMk id="173" creationId="{1874C74F-BD96-29D2-D89C-C82C1ED7554B}"/>
          </ac:spMkLst>
        </pc:spChg>
        <pc:spChg chg="mod ord">
          <ac:chgData name="Remi de Vogel" userId="5948360e-7b9c-4a22-9ada-df5e8b901c82" providerId="ADAL" clId="{848B40CD-DCFD-4256-872E-30365CE333A5}" dt="2022-05-25T13:44:18.990" v="475" actId="700"/>
          <ac:spMkLst>
            <pc:docMk/>
            <pc:sldMk cId="3408361369" sldId="2433"/>
            <ac:spMk id="174" creationId="{CFE5064D-9098-826B-9860-7F62A26A5FDD}"/>
          </ac:spMkLst>
        </pc:spChg>
      </pc:sldChg>
      <pc:sldChg chg="addSp delSp modSp mod modClrScheme chgLayout">
        <pc:chgData name="Remi de Vogel" userId="5948360e-7b9c-4a22-9ada-df5e8b901c82" providerId="ADAL" clId="{848B40CD-DCFD-4256-872E-30365CE333A5}" dt="2022-05-25T13:35:01.808" v="179" actId="478"/>
        <pc:sldMkLst>
          <pc:docMk/>
          <pc:sldMk cId="2099305468" sldId="2442"/>
        </pc:sldMkLst>
        <pc:spChg chg="mod ord">
          <ac:chgData name="Remi de Vogel" userId="5948360e-7b9c-4a22-9ada-df5e8b901c82" providerId="ADAL" clId="{848B40CD-DCFD-4256-872E-30365CE333A5}" dt="2022-05-25T13:33:48.289" v="156" actId="700"/>
          <ac:spMkLst>
            <pc:docMk/>
            <pc:sldMk cId="2099305468" sldId="2442"/>
            <ac:spMk id="2" creationId="{80344065-85BF-480E-8586-6D090B2C4660}"/>
          </ac:spMkLst>
        </pc:spChg>
        <pc:spChg chg="mod ord">
          <ac:chgData name="Remi de Vogel" userId="5948360e-7b9c-4a22-9ada-df5e8b901c82" providerId="ADAL" clId="{848B40CD-DCFD-4256-872E-30365CE333A5}" dt="2022-05-25T13:33:48.289" v="156" actId="700"/>
          <ac:spMkLst>
            <pc:docMk/>
            <pc:sldMk cId="2099305468" sldId="2442"/>
            <ac:spMk id="3" creationId="{18C424A6-EE27-4FC9-B7FD-C10EEA58B609}"/>
          </ac:spMkLst>
        </pc:spChg>
        <pc:spChg chg="mod ord">
          <ac:chgData name="Remi de Vogel" userId="5948360e-7b9c-4a22-9ada-df5e8b901c82" providerId="ADAL" clId="{848B40CD-DCFD-4256-872E-30365CE333A5}" dt="2022-05-25T13:33:48.289" v="156" actId="700"/>
          <ac:spMkLst>
            <pc:docMk/>
            <pc:sldMk cId="2099305468" sldId="2442"/>
            <ac:spMk id="5" creationId="{E1650718-EC33-4DB1-998F-6BE628AA00D0}"/>
          </ac:spMkLst>
        </pc:spChg>
        <pc:spChg chg="mod ord">
          <ac:chgData name="Remi de Vogel" userId="5948360e-7b9c-4a22-9ada-df5e8b901c82" providerId="ADAL" clId="{848B40CD-DCFD-4256-872E-30365CE333A5}" dt="2022-05-25T13:33:48.289" v="156" actId="700"/>
          <ac:spMkLst>
            <pc:docMk/>
            <pc:sldMk cId="2099305468" sldId="2442"/>
            <ac:spMk id="6" creationId="{5CA98F28-7DF9-4DFB-811A-D4057503067C}"/>
          </ac:spMkLst>
        </pc:spChg>
        <pc:spChg chg="mod ord">
          <ac:chgData name="Remi de Vogel" userId="5948360e-7b9c-4a22-9ada-df5e8b901c82" providerId="ADAL" clId="{848B40CD-DCFD-4256-872E-30365CE333A5}" dt="2022-05-25T13:33:48.289" v="156" actId="700"/>
          <ac:spMkLst>
            <pc:docMk/>
            <pc:sldMk cId="2099305468" sldId="2442"/>
            <ac:spMk id="7" creationId="{A551B760-CFE8-419D-8D1B-D16E7B798623}"/>
          </ac:spMkLst>
        </pc:spChg>
        <pc:spChg chg="add del mod ord">
          <ac:chgData name="Remi de Vogel" userId="5948360e-7b9c-4a22-9ada-df5e8b901c82" providerId="ADAL" clId="{848B40CD-DCFD-4256-872E-30365CE333A5}" dt="2022-05-25T13:33:20.967" v="125" actId="700"/>
          <ac:spMkLst>
            <pc:docMk/>
            <pc:sldMk cId="2099305468" sldId="2442"/>
            <ac:spMk id="8" creationId="{0441FE36-6F0F-E273-8813-35D0CE71F648}"/>
          </ac:spMkLst>
        </pc:spChg>
        <pc:spChg chg="mod ord">
          <ac:chgData name="Remi de Vogel" userId="5948360e-7b9c-4a22-9ada-df5e8b901c82" providerId="ADAL" clId="{848B40CD-DCFD-4256-872E-30365CE333A5}" dt="2022-05-25T13:33:48.289" v="156" actId="700"/>
          <ac:spMkLst>
            <pc:docMk/>
            <pc:sldMk cId="2099305468" sldId="2442"/>
            <ac:spMk id="9" creationId="{70D99835-1EFB-4368-9152-CA7DD9F35F6B}"/>
          </ac:spMkLst>
        </pc:spChg>
        <pc:spChg chg="add del mod">
          <ac:chgData name="Remi de Vogel" userId="5948360e-7b9c-4a22-9ada-df5e8b901c82" providerId="ADAL" clId="{848B40CD-DCFD-4256-872E-30365CE333A5}" dt="2022-05-25T13:33:45.692" v="154"/>
          <ac:spMkLst>
            <pc:docMk/>
            <pc:sldMk cId="2099305468" sldId="2442"/>
            <ac:spMk id="10" creationId="{2FA04C9D-4028-4FA6-E3B2-ACBAC2DE9944}"/>
          </ac:spMkLst>
        </pc:spChg>
        <pc:spChg chg="add del mod">
          <ac:chgData name="Remi de Vogel" userId="5948360e-7b9c-4a22-9ada-df5e8b901c82" providerId="ADAL" clId="{848B40CD-DCFD-4256-872E-30365CE333A5}" dt="2022-05-25T13:33:45.692" v="154"/>
          <ac:spMkLst>
            <pc:docMk/>
            <pc:sldMk cId="2099305468" sldId="2442"/>
            <ac:spMk id="11" creationId="{BA0E9A15-21D3-B5CA-7847-E42C7D2839D2}"/>
          </ac:spMkLst>
        </pc:spChg>
        <pc:spChg chg="add del mod">
          <ac:chgData name="Remi de Vogel" userId="5948360e-7b9c-4a22-9ada-df5e8b901c82" providerId="ADAL" clId="{848B40CD-DCFD-4256-872E-30365CE333A5}" dt="2022-05-25T13:33:45.692" v="154"/>
          <ac:spMkLst>
            <pc:docMk/>
            <pc:sldMk cId="2099305468" sldId="2442"/>
            <ac:spMk id="12" creationId="{7FC79B4C-D1C5-D336-CDED-1E8C029F69F1}"/>
          </ac:spMkLst>
        </pc:spChg>
        <pc:spChg chg="add del mod">
          <ac:chgData name="Remi de Vogel" userId="5948360e-7b9c-4a22-9ada-df5e8b901c82" providerId="ADAL" clId="{848B40CD-DCFD-4256-872E-30365CE333A5}" dt="2022-05-25T13:33:45.692" v="154"/>
          <ac:spMkLst>
            <pc:docMk/>
            <pc:sldMk cId="2099305468" sldId="2442"/>
            <ac:spMk id="13" creationId="{871A1405-DD7B-8B55-F2EC-CCD2F82A54FD}"/>
          </ac:spMkLst>
        </pc:spChg>
        <pc:spChg chg="add del mod">
          <ac:chgData name="Remi de Vogel" userId="5948360e-7b9c-4a22-9ada-df5e8b901c82" providerId="ADAL" clId="{848B40CD-DCFD-4256-872E-30365CE333A5}" dt="2022-05-25T13:33:45.692" v="154"/>
          <ac:spMkLst>
            <pc:docMk/>
            <pc:sldMk cId="2099305468" sldId="2442"/>
            <ac:spMk id="14" creationId="{61CCFB91-97EE-7622-8050-D3A9E1885ECF}"/>
          </ac:spMkLst>
        </pc:spChg>
        <pc:spChg chg="add del mod">
          <ac:chgData name="Remi de Vogel" userId="5948360e-7b9c-4a22-9ada-df5e8b901c82" providerId="ADAL" clId="{848B40CD-DCFD-4256-872E-30365CE333A5}" dt="2022-05-25T13:33:45.692" v="154"/>
          <ac:spMkLst>
            <pc:docMk/>
            <pc:sldMk cId="2099305468" sldId="2442"/>
            <ac:spMk id="15" creationId="{F4E67F46-7175-F55C-C693-D57EAB1189F0}"/>
          </ac:spMkLst>
        </pc:spChg>
        <pc:spChg chg="add del mod">
          <ac:chgData name="Remi de Vogel" userId="5948360e-7b9c-4a22-9ada-df5e8b901c82" providerId="ADAL" clId="{848B40CD-DCFD-4256-872E-30365CE333A5}" dt="2022-05-25T13:33:45.835" v="155"/>
          <ac:spMkLst>
            <pc:docMk/>
            <pc:sldMk cId="2099305468" sldId="2442"/>
            <ac:spMk id="16" creationId="{36640062-6E66-A5B0-AFFA-66CDEB6287F9}"/>
          </ac:spMkLst>
        </pc:spChg>
        <pc:spChg chg="add del mod">
          <ac:chgData name="Remi de Vogel" userId="5948360e-7b9c-4a22-9ada-df5e8b901c82" providerId="ADAL" clId="{848B40CD-DCFD-4256-872E-30365CE333A5}" dt="2022-05-25T13:33:45.835" v="155"/>
          <ac:spMkLst>
            <pc:docMk/>
            <pc:sldMk cId="2099305468" sldId="2442"/>
            <ac:spMk id="17" creationId="{B0318ACB-B128-20B6-2637-85429286D7BF}"/>
          </ac:spMkLst>
        </pc:spChg>
        <pc:spChg chg="add del mod">
          <ac:chgData name="Remi de Vogel" userId="5948360e-7b9c-4a22-9ada-df5e8b901c82" providerId="ADAL" clId="{848B40CD-DCFD-4256-872E-30365CE333A5}" dt="2022-05-25T13:33:45.835" v="155"/>
          <ac:spMkLst>
            <pc:docMk/>
            <pc:sldMk cId="2099305468" sldId="2442"/>
            <ac:spMk id="18" creationId="{FA6BC707-9371-E8F1-05ED-EE93CB445517}"/>
          </ac:spMkLst>
        </pc:spChg>
        <pc:spChg chg="add del mod">
          <ac:chgData name="Remi de Vogel" userId="5948360e-7b9c-4a22-9ada-df5e8b901c82" providerId="ADAL" clId="{848B40CD-DCFD-4256-872E-30365CE333A5}" dt="2022-05-25T13:33:45.835" v="155"/>
          <ac:spMkLst>
            <pc:docMk/>
            <pc:sldMk cId="2099305468" sldId="2442"/>
            <ac:spMk id="20" creationId="{23642C9A-F3B8-7CDA-F293-3C76B359539D}"/>
          </ac:spMkLst>
        </pc:spChg>
        <pc:spChg chg="add del mod">
          <ac:chgData name="Remi de Vogel" userId="5948360e-7b9c-4a22-9ada-df5e8b901c82" providerId="ADAL" clId="{848B40CD-DCFD-4256-872E-30365CE333A5}" dt="2022-05-25T13:33:45.835" v="155"/>
          <ac:spMkLst>
            <pc:docMk/>
            <pc:sldMk cId="2099305468" sldId="2442"/>
            <ac:spMk id="21" creationId="{E5BA1CEF-6493-1222-E670-18EFD7524B85}"/>
          </ac:spMkLst>
        </pc:spChg>
        <pc:spChg chg="add del mod">
          <ac:chgData name="Remi de Vogel" userId="5948360e-7b9c-4a22-9ada-df5e8b901c82" providerId="ADAL" clId="{848B40CD-DCFD-4256-872E-30365CE333A5}" dt="2022-05-25T13:33:45.835" v="155"/>
          <ac:spMkLst>
            <pc:docMk/>
            <pc:sldMk cId="2099305468" sldId="2442"/>
            <ac:spMk id="22" creationId="{B05C0F1A-567A-9AD9-2383-94F77369EBE9}"/>
          </ac:spMkLst>
        </pc:spChg>
        <pc:spChg chg="add del mod ord">
          <ac:chgData name="Remi de Vogel" userId="5948360e-7b9c-4a22-9ada-df5e8b901c82" providerId="ADAL" clId="{848B40CD-DCFD-4256-872E-30365CE333A5}" dt="2022-05-25T13:35:01.808" v="179" actId="478"/>
          <ac:spMkLst>
            <pc:docMk/>
            <pc:sldMk cId="2099305468" sldId="2442"/>
            <ac:spMk id="23" creationId="{30329648-A28F-175D-EC7E-7A0703B54E04}"/>
          </ac:spMkLst>
        </pc:spChg>
        <pc:spChg chg="mod">
          <ac:chgData name="Remi de Vogel" userId="5948360e-7b9c-4a22-9ada-df5e8b901c82" providerId="ADAL" clId="{848B40CD-DCFD-4256-872E-30365CE333A5}" dt="2022-05-25T13:33:14.267" v="123" actId="1076"/>
          <ac:spMkLst>
            <pc:docMk/>
            <pc:sldMk cId="2099305468" sldId="2442"/>
            <ac:spMk id="94" creationId="{93B006DB-5024-4877-8408-42E791CC56D9}"/>
          </ac:spMkLst>
        </pc:spChg>
      </pc:sldChg>
      <pc:sldChg chg="addSp delSp modSp mod modClrScheme chgLayout">
        <pc:chgData name="Remi de Vogel" userId="5948360e-7b9c-4a22-9ada-df5e8b901c82" providerId="ADAL" clId="{848B40CD-DCFD-4256-872E-30365CE333A5}" dt="2022-05-25T13:35:07.836" v="180" actId="478"/>
        <pc:sldMkLst>
          <pc:docMk/>
          <pc:sldMk cId="2506249882" sldId="2937"/>
        </pc:sldMkLst>
        <pc:spChg chg="mod ord">
          <ac:chgData name="Remi de Vogel" userId="5948360e-7b9c-4a22-9ada-df5e8b901c82" providerId="ADAL" clId="{848B40CD-DCFD-4256-872E-30365CE333A5}" dt="2022-05-25T13:33:04.382" v="118" actId="700"/>
          <ac:spMkLst>
            <pc:docMk/>
            <pc:sldMk cId="2506249882" sldId="2937"/>
            <ac:spMk id="2" creationId="{00000000-0000-0000-0000-000000000000}"/>
          </ac:spMkLst>
        </pc:spChg>
        <pc:spChg chg="mod ord">
          <ac:chgData name="Remi de Vogel" userId="5948360e-7b9c-4a22-9ada-df5e8b901c82" providerId="ADAL" clId="{848B40CD-DCFD-4256-872E-30365CE333A5}" dt="2022-05-25T13:33:04.382" v="118" actId="700"/>
          <ac:spMkLst>
            <pc:docMk/>
            <pc:sldMk cId="2506249882" sldId="2937"/>
            <ac:spMk id="3" creationId="{B27AB320-F549-4FFD-B54F-17DE211FFA63}"/>
          </ac:spMkLst>
        </pc:spChg>
        <pc:spChg chg="mod ord">
          <ac:chgData name="Remi de Vogel" userId="5948360e-7b9c-4a22-9ada-df5e8b901c82" providerId="ADAL" clId="{848B40CD-DCFD-4256-872E-30365CE333A5}" dt="2022-05-25T13:33:04.382" v="118" actId="700"/>
          <ac:spMkLst>
            <pc:docMk/>
            <pc:sldMk cId="2506249882" sldId="2937"/>
            <ac:spMk id="4" creationId="{00000000-0000-0000-0000-000000000000}"/>
          </ac:spMkLst>
        </pc:spChg>
        <pc:spChg chg="add del mod ord">
          <ac:chgData name="Remi de Vogel" userId="5948360e-7b9c-4a22-9ada-df5e8b901c82" providerId="ADAL" clId="{848B40CD-DCFD-4256-872E-30365CE333A5}" dt="2022-05-25T13:33:08.527" v="121" actId="478"/>
          <ac:spMkLst>
            <pc:docMk/>
            <pc:sldMk cId="2506249882" sldId="2937"/>
            <ac:spMk id="5" creationId="{AACADD80-75BA-4FA6-9A49-B7D5A1F53D77}"/>
          </ac:spMkLst>
        </pc:spChg>
        <pc:spChg chg="mod ord">
          <ac:chgData name="Remi de Vogel" userId="5948360e-7b9c-4a22-9ada-df5e8b901c82" providerId="ADAL" clId="{848B40CD-DCFD-4256-872E-30365CE333A5}" dt="2022-05-25T13:33:04.382" v="118" actId="700"/>
          <ac:spMkLst>
            <pc:docMk/>
            <pc:sldMk cId="2506249882" sldId="2937"/>
            <ac:spMk id="6" creationId="{59C702CD-2EEF-486B-A034-59AF94509159}"/>
          </ac:spMkLst>
        </pc:spChg>
        <pc:spChg chg="add del mod ord">
          <ac:chgData name="Remi de Vogel" userId="5948360e-7b9c-4a22-9ada-df5e8b901c82" providerId="ADAL" clId="{848B40CD-DCFD-4256-872E-30365CE333A5}" dt="2022-05-25T13:33:04.382" v="118" actId="700"/>
          <ac:spMkLst>
            <pc:docMk/>
            <pc:sldMk cId="2506249882" sldId="2937"/>
            <ac:spMk id="7" creationId="{5A4517A1-E02E-96E3-9492-26A75BEB9207}"/>
          </ac:spMkLst>
        </pc:spChg>
        <pc:spChg chg="add del mod ord">
          <ac:chgData name="Remi de Vogel" userId="5948360e-7b9c-4a22-9ada-df5e8b901c82" providerId="ADAL" clId="{848B40CD-DCFD-4256-872E-30365CE333A5}" dt="2022-05-25T13:35:07.836" v="180" actId="478"/>
          <ac:spMkLst>
            <pc:docMk/>
            <pc:sldMk cId="2506249882" sldId="2937"/>
            <ac:spMk id="8" creationId="{993C7C42-08FB-0293-7D38-DAF103909D9A}"/>
          </ac:spMkLst>
        </pc:spChg>
        <pc:spChg chg="mod ord">
          <ac:chgData name="Remi de Vogel" userId="5948360e-7b9c-4a22-9ada-df5e8b901c82" providerId="ADAL" clId="{848B40CD-DCFD-4256-872E-30365CE333A5}" dt="2022-05-25T13:33:04.382" v="118" actId="700"/>
          <ac:spMkLst>
            <pc:docMk/>
            <pc:sldMk cId="2506249882" sldId="2937"/>
            <ac:spMk id="12" creationId="{208941FF-6E50-4208-B165-76133282D584}"/>
          </ac:spMkLst>
        </pc:spChg>
        <pc:spChg chg="del">
          <ac:chgData name="Remi de Vogel" userId="5948360e-7b9c-4a22-9ada-df5e8b901c82" providerId="ADAL" clId="{848B40CD-DCFD-4256-872E-30365CE333A5}" dt="2022-05-25T13:31:49.665" v="84" actId="478"/>
          <ac:spMkLst>
            <pc:docMk/>
            <pc:sldMk cId="2506249882" sldId="2937"/>
            <ac:spMk id="22" creationId="{1199F434-6227-41CA-B804-B0343A4ED6A4}"/>
          </ac:spMkLst>
        </pc:spChg>
        <pc:spChg chg="del mod">
          <ac:chgData name="Remi de Vogel" userId="5948360e-7b9c-4a22-9ada-df5e8b901c82" providerId="ADAL" clId="{848B40CD-DCFD-4256-872E-30365CE333A5}" dt="2022-05-25T13:33:05.943" v="119" actId="478"/>
          <ac:spMkLst>
            <pc:docMk/>
            <pc:sldMk cId="2506249882" sldId="2937"/>
            <ac:spMk id="30" creationId="{3F40EE7D-370A-4EF5-9483-D283C4C41F51}"/>
          </ac:spMkLst>
        </pc:spChg>
      </pc:sldChg>
      <pc:sldChg chg="addSp delSp modSp mod modClrScheme chgLayout">
        <pc:chgData name="Remi de Vogel" userId="5948360e-7b9c-4a22-9ada-df5e8b901c82" providerId="ADAL" clId="{848B40CD-DCFD-4256-872E-30365CE333A5}" dt="2022-05-25T13:31:22.769" v="78" actId="478"/>
        <pc:sldMkLst>
          <pc:docMk/>
          <pc:sldMk cId="3235046630" sldId="3019"/>
        </pc:sldMkLst>
        <pc:spChg chg="mod ord">
          <ac:chgData name="Remi de Vogel" userId="5948360e-7b9c-4a22-9ada-df5e8b901c82" providerId="ADAL" clId="{848B40CD-DCFD-4256-872E-30365CE333A5}" dt="2022-05-25T13:30:36.585" v="67" actId="700"/>
          <ac:spMkLst>
            <pc:docMk/>
            <pc:sldMk cId="3235046630" sldId="3019"/>
            <ac:spMk id="2" creationId="{00000000-0000-0000-0000-000000000000}"/>
          </ac:spMkLst>
        </pc:spChg>
        <pc:spChg chg="mod ord">
          <ac:chgData name="Remi de Vogel" userId="5948360e-7b9c-4a22-9ada-df5e8b901c82" providerId="ADAL" clId="{848B40CD-DCFD-4256-872E-30365CE333A5}" dt="2022-05-25T13:30:36.585" v="67" actId="700"/>
          <ac:spMkLst>
            <pc:docMk/>
            <pc:sldMk cId="3235046630" sldId="3019"/>
            <ac:spMk id="4" creationId="{00000000-0000-0000-0000-000000000000}"/>
          </ac:spMkLst>
        </pc:spChg>
        <pc:spChg chg="mod ord">
          <ac:chgData name="Remi de Vogel" userId="5948360e-7b9c-4a22-9ada-df5e8b901c82" providerId="ADAL" clId="{848B40CD-DCFD-4256-872E-30365CE333A5}" dt="2022-05-25T13:30:36.585" v="67" actId="700"/>
          <ac:spMkLst>
            <pc:docMk/>
            <pc:sldMk cId="3235046630" sldId="3019"/>
            <ac:spMk id="5" creationId="{57E5A769-EA50-9762-78C4-A197F9554C70}"/>
          </ac:spMkLst>
        </pc:spChg>
        <pc:spChg chg="mod ord">
          <ac:chgData name="Remi de Vogel" userId="5948360e-7b9c-4a22-9ada-df5e8b901c82" providerId="ADAL" clId="{848B40CD-DCFD-4256-872E-30365CE333A5}" dt="2022-05-25T13:30:36.585" v="67" actId="700"/>
          <ac:spMkLst>
            <pc:docMk/>
            <pc:sldMk cId="3235046630" sldId="3019"/>
            <ac:spMk id="6" creationId="{D6ACCACF-1A64-9F43-4118-69B98F894D01}"/>
          </ac:spMkLst>
        </pc:spChg>
        <pc:spChg chg="mod ord">
          <ac:chgData name="Remi de Vogel" userId="5948360e-7b9c-4a22-9ada-df5e8b901c82" providerId="ADAL" clId="{848B40CD-DCFD-4256-872E-30365CE333A5}" dt="2022-05-25T13:30:36.585" v="67" actId="700"/>
          <ac:spMkLst>
            <pc:docMk/>
            <pc:sldMk cId="3235046630" sldId="3019"/>
            <ac:spMk id="8" creationId="{3D32C236-C80C-17AE-0A34-5DC5008F5FAD}"/>
          </ac:spMkLst>
        </pc:spChg>
        <pc:spChg chg="mod ord">
          <ac:chgData name="Remi de Vogel" userId="5948360e-7b9c-4a22-9ada-df5e8b901c82" providerId="ADAL" clId="{848B40CD-DCFD-4256-872E-30365CE333A5}" dt="2022-05-25T13:30:36.585" v="67" actId="700"/>
          <ac:spMkLst>
            <pc:docMk/>
            <pc:sldMk cId="3235046630" sldId="3019"/>
            <ac:spMk id="9" creationId="{04D9C48B-A434-7F04-5BF5-992FFA3F3BD8}"/>
          </ac:spMkLst>
        </pc:spChg>
        <pc:spChg chg="add del mod ord">
          <ac:chgData name="Remi de Vogel" userId="5948360e-7b9c-4a22-9ada-df5e8b901c82" providerId="ADAL" clId="{848B40CD-DCFD-4256-872E-30365CE333A5}" dt="2022-05-25T13:30:38.889" v="69" actId="478"/>
          <ac:spMkLst>
            <pc:docMk/>
            <pc:sldMk cId="3235046630" sldId="3019"/>
            <ac:spMk id="10" creationId="{95793AD7-A66A-9076-23E9-3C9F9FA8C143}"/>
          </ac:spMkLst>
        </pc:spChg>
        <pc:spChg chg="del">
          <ac:chgData name="Remi de Vogel" userId="5948360e-7b9c-4a22-9ada-df5e8b901c82" providerId="ADAL" clId="{848B40CD-DCFD-4256-872E-30365CE333A5}" dt="2022-05-25T13:30:37.352" v="68" actId="478"/>
          <ac:spMkLst>
            <pc:docMk/>
            <pc:sldMk cId="3235046630" sldId="3019"/>
            <ac:spMk id="38" creationId="{EC38BF69-A7AC-402A-9DA3-5C6B72D3B82F}"/>
          </ac:spMkLst>
        </pc:spChg>
        <pc:spChg chg="del">
          <ac:chgData name="Remi de Vogel" userId="5948360e-7b9c-4a22-9ada-df5e8b901c82" providerId="ADAL" clId="{848B40CD-DCFD-4256-872E-30365CE333A5}" dt="2022-05-25T13:30:40.216" v="70" actId="478"/>
          <ac:spMkLst>
            <pc:docMk/>
            <pc:sldMk cId="3235046630" sldId="3019"/>
            <ac:spMk id="45" creationId="{FA6A7FF6-7A59-2D72-1D7D-B8F40DEB1700}"/>
          </ac:spMkLst>
        </pc:spChg>
        <pc:spChg chg="del">
          <ac:chgData name="Remi de Vogel" userId="5948360e-7b9c-4a22-9ada-df5e8b901c82" providerId="ADAL" clId="{848B40CD-DCFD-4256-872E-30365CE333A5}" dt="2022-05-25T13:31:22.769" v="78" actId="478"/>
          <ac:spMkLst>
            <pc:docMk/>
            <pc:sldMk cId="3235046630" sldId="3019"/>
            <ac:spMk id="46" creationId="{0D22C7D8-557F-2857-C98F-B15C6CAC4E98}"/>
          </ac:spMkLst>
        </pc:spChg>
      </pc:sldChg>
      <pc:sldChg chg="addSp delSp modSp mod modClrScheme chgLayout">
        <pc:chgData name="Remi de Vogel" userId="5948360e-7b9c-4a22-9ada-df5e8b901c82" providerId="ADAL" clId="{848B40CD-DCFD-4256-872E-30365CE333A5}" dt="2022-05-25T15:06:00.087" v="765" actId="478"/>
        <pc:sldMkLst>
          <pc:docMk/>
          <pc:sldMk cId="2304810836" sldId="3038"/>
        </pc:sldMkLst>
        <pc:spChg chg="mod ord">
          <ac:chgData name="Remi de Vogel" userId="5948360e-7b9c-4a22-9ada-df5e8b901c82" providerId="ADAL" clId="{848B40CD-DCFD-4256-872E-30365CE333A5}" dt="2022-05-25T15:05:57.875" v="764" actId="700"/>
          <ac:spMkLst>
            <pc:docMk/>
            <pc:sldMk cId="2304810836" sldId="3038"/>
            <ac:spMk id="2" creationId="{00000000-0000-0000-0000-000000000000}"/>
          </ac:spMkLst>
        </pc:spChg>
        <pc:spChg chg="mod ord">
          <ac:chgData name="Remi de Vogel" userId="5948360e-7b9c-4a22-9ada-df5e8b901c82" providerId="ADAL" clId="{848B40CD-DCFD-4256-872E-30365CE333A5}" dt="2022-05-25T15:05:57.875" v="764" actId="700"/>
          <ac:spMkLst>
            <pc:docMk/>
            <pc:sldMk cId="2304810836" sldId="3038"/>
            <ac:spMk id="3" creationId="{00000000-0000-0000-0000-000000000000}"/>
          </ac:spMkLst>
        </pc:spChg>
        <pc:spChg chg="mod ord">
          <ac:chgData name="Remi de Vogel" userId="5948360e-7b9c-4a22-9ada-df5e8b901c82" providerId="ADAL" clId="{848B40CD-DCFD-4256-872E-30365CE333A5}" dt="2022-05-25T13:30:03.214" v="60"/>
          <ac:spMkLst>
            <pc:docMk/>
            <pc:sldMk cId="2304810836" sldId="3038"/>
            <ac:spMk id="4" creationId="{A7EA0564-1F28-4DBD-A024-EC44CD629C59}"/>
          </ac:spMkLst>
        </pc:spChg>
        <pc:spChg chg="add del mod ord">
          <ac:chgData name="Remi de Vogel" userId="5948360e-7b9c-4a22-9ada-df5e8b901c82" providerId="ADAL" clId="{848B40CD-DCFD-4256-872E-30365CE333A5}" dt="2022-05-25T15:06:00.087" v="765" actId="478"/>
          <ac:spMkLst>
            <pc:docMk/>
            <pc:sldMk cId="2304810836" sldId="3038"/>
            <ac:spMk id="4" creationId="{AEF12F27-8B9C-201E-5CCD-E2333E610B7C}"/>
          </ac:spMkLst>
        </pc:spChg>
        <pc:spChg chg="mod ord">
          <ac:chgData name="Remi de Vogel" userId="5948360e-7b9c-4a22-9ada-df5e8b901c82" providerId="ADAL" clId="{848B40CD-DCFD-4256-872E-30365CE333A5}" dt="2022-05-25T13:30:03.214" v="60"/>
          <ac:spMkLst>
            <pc:docMk/>
            <pc:sldMk cId="2304810836" sldId="3038"/>
            <ac:spMk id="5" creationId="{DFE61346-1271-4EC2-BB05-7E19BECC10F0}"/>
          </ac:spMkLst>
        </pc:spChg>
        <pc:spChg chg="mod ord">
          <ac:chgData name="Remi de Vogel" userId="5948360e-7b9c-4a22-9ada-df5e8b901c82" providerId="ADAL" clId="{848B40CD-DCFD-4256-872E-30365CE333A5}" dt="2022-05-25T15:05:57.875" v="764" actId="700"/>
          <ac:spMkLst>
            <pc:docMk/>
            <pc:sldMk cId="2304810836" sldId="3038"/>
            <ac:spMk id="9" creationId="{C5CAC9FD-9935-4906-8C1C-3EC000DB86C3}"/>
          </ac:spMkLst>
        </pc:spChg>
        <pc:spChg chg="add del mod ord">
          <ac:chgData name="Remi de Vogel" userId="5948360e-7b9c-4a22-9ada-df5e8b901c82" providerId="ADAL" clId="{848B40CD-DCFD-4256-872E-30365CE333A5}" dt="2022-05-25T13:29:40.383" v="53" actId="478"/>
          <ac:spMkLst>
            <pc:docMk/>
            <pc:sldMk cId="2304810836" sldId="3038"/>
            <ac:spMk id="13" creationId="{FDC4D012-ECAF-5AB7-DAB5-6D5DEA8E3562}"/>
          </ac:spMkLst>
        </pc:spChg>
        <pc:spChg chg="add del mod">
          <ac:chgData name="Remi de Vogel" userId="5948360e-7b9c-4a22-9ada-df5e8b901c82" providerId="ADAL" clId="{848B40CD-DCFD-4256-872E-30365CE333A5}" dt="2022-05-25T13:30:03.214" v="60"/>
          <ac:spMkLst>
            <pc:docMk/>
            <pc:sldMk cId="2304810836" sldId="3038"/>
            <ac:spMk id="14" creationId="{B67A43D3-A48A-8DD0-0210-A532162A9D94}"/>
          </ac:spMkLst>
        </pc:spChg>
        <pc:spChg chg="add del mod ord">
          <ac:chgData name="Remi de Vogel" userId="5948360e-7b9c-4a22-9ada-df5e8b901c82" providerId="ADAL" clId="{848B40CD-DCFD-4256-872E-30365CE333A5}" dt="2022-05-25T13:30:03.214" v="60"/>
          <ac:spMkLst>
            <pc:docMk/>
            <pc:sldMk cId="2304810836" sldId="3038"/>
            <ac:spMk id="15" creationId="{E33CD193-B21A-45BF-AE60-DD415BE8CE45}"/>
          </ac:spMkLst>
        </pc:spChg>
        <pc:spChg chg="add del mod">
          <ac:chgData name="Remi de Vogel" userId="5948360e-7b9c-4a22-9ada-df5e8b901c82" providerId="ADAL" clId="{848B40CD-DCFD-4256-872E-30365CE333A5}" dt="2022-05-25T13:30:03.214" v="60"/>
          <ac:spMkLst>
            <pc:docMk/>
            <pc:sldMk cId="2304810836" sldId="3038"/>
            <ac:spMk id="16" creationId="{AD5B5AB6-210B-BC0B-25B9-E1953C482D9F}"/>
          </ac:spMkLst>
        </pc:spChg>
        <pc:spChg chg="add del mod">
          <ac:chgData name="Remi de Vogel" userId="5948360e-7b9c-4a22-9ada-df5e8b901c82" providerId="ADAL" clId="{848B40CD-DCFD-4256-872E-30365CE333A5}" dt="2022-05-25T13:30:03.214" v="60"/>
          <ac:spMkLst>
            <pc:docMk/>
            <pc:sldMk cId="2304810836" sldId="3038"/>
            <ac:spMk id="17" creationId="{C77B4918-6D33-AF02-EE3B-19B9F219F5EB}"/>
          </ac:spMkLst>
        </pc:spChg>
        <pc:spChg chg="add del mod">
          <ac:chgData name="Remi de Vogel" userId="5948360e-7b9c-4a22-9ada-df5e8b901c82" providerId="ADAL" clId="{848B40CD-DCFD-4256-872E-30365CE333A5}" dt="2022-05-25T13:30:03.214" v="60"/>
          <ac:spMkLst>
            <pc:docMk/>
            <pc:sldMk cId="2304810836" sldId="3038"/>
            <ac:spMk id="18" creationId="{F6DEB8B4-4764-82A0-4FA2-3CCCD428EA16}"/>
          </ac:spMkLst>
        </pc:spChg>
        <pc:spChg chg="add del mod">
          <ac:chgData name="Remi de Vogel" userId="5948360e-7b9c-4a22-9ada-df5e8b901c82" providerId="ADAL" clId="{848B40CD-DCFD-4256-872E-30365CE333A5}" dt="2022-05-25T13:30:03.214" v="60"/>
          <ac:spMkLst>
            <pc:docMk/>
            <pc:sldMk cId="2304810836" sldId="3038"/>
            <ac:spMk id="19" creationId="{E83A0B24-85E0-3B64-52F9-F794F7AF190C}"/>
          </ac:spMkLst>
        </pc:spChg>
        <pc:spChg chg="add del mod">
          <ac:chgData name="Remi de Vogel" userId="5948360e-7b9c-4a22-9ada-df5e8b901c82" providerId="ADAL" clId="{848B40CD-DCFD-4256-872E-30365CE333A5}" dt="2022-05-25T13:30:03.214" v="60"/>
          <ac:spMkLst>
            <pc:docMk/>
            <pc:sldMk cId="2304810836" sldId="3038"/>
            <ac:spMk id="20" creationId="{A5BE6243-039A-1DFC-8B81-E011F59B9C3D}"/>
          </ac:spMkLst>
        </pc:spChg>
        <pc:spChg chg="add del mod">
          <ac:chgData name="Remi de Vogel" userId="5948360e-7b9c-4a22-9ada-df5e8b901c82" providerId="ADAL" clId="{848B40CD-DCFD-4256-872E-30365CE333A5}" dt="2022-05-25T13:30:04.830" v="61" actId="478"/>
          <ac:spMkLst>
            <pc:docMk/>
            <pc:sldMk cId="2304810836" sldId="3038"/>
            <ac:spMk id="21" creationId="{BF0F1027-6873-3165-49FE-65ACE81D2A40}"/>
          </ac:spMkLst>
        </pc:spChg>
        <pc:spChg chg="del">
          <ac:chgData name="Remi de Vogel" userId="5948360e-7b9c-4a22-9ada-df5e8b901c82" providerId="ADAL" clId="{848B40CD-DCFD-4256-872E-30365CE333A5}" dt="2022-05-25T13:29:42.654" v="54" actId="478"/>
          <ac:spMkLst>
            <pc:docMk/>
            <pc:sldMk cId="2304810836" sldId="3038"/>
            <ac:spMk id="32" creationId="{2B2E6FFA-0FFF-490A-8C53-AB333754D120}"/>
          </ac:spMkLst>
        </pc:spChg>
        <pc:spChg chg="add del">
          <ac:chgData name="Remi de Vogel" userId="5948360e-7b9c-4a22-9ada-df5e8b901c82" providerId="ADAL" clId="{848B40CD-DCFD-4256-872E-30365CE333A5}" dt="2022-05-25T13:30:01.082" v="59" actId="478"/>
          <ac:spMkLst>
            <pc:docMk/>
            <pc:sldMk cId="2304810836" sldId="3038"/>
            <ac:spMk id="68" creationId="{95648280-BA0F-4E03-BBD3-16625E86984A}"/>
          </ac:spMkLst>
        </pc:spChg>
        <pc:spChg chg="add del">
          <ac:chgData name="Remi de Vogel" userId="5948360e-7b9c-4a22-9ada-df5e8b901c82" providerId="ADAL" clId="{848B40CD-DCFD-4256-872E-30365CE333A5}" dt="2022-05-25T13:31:28.675" v="81" actId="478"/>
          <ac:spMkLst>
            <pc:docMk/>
            <pc:sldMk cId="2304810836" sldId="3038"/>
            <ac:spMk id="69" creationId="{6D94CDE1-BBB9-4FC5-9241-436E1750C035}"/>
          </ac:spMkLst>
        </pc:spChg>
      </pc:sldChg>
      <pc:sldChg chg="delSp modSp mod">
        <pc:chgData name="Remi de Vogel" userId="5948360e-7b9c-4a22-9ada-df5e8b901c82" providerId="ADAL" clId="{848B40CD-DCFD-4256-872E-30365CE333A5}" dt="2022-05-25T13:36:02.584" v="218" actId="1076"/>
        <pc:sldMkLst>
          <pc:docMk/>
          <pc:sldMk cId="3996426437" sldId="3106"/>
        </pc:sldMkLst>
        <pc:spChg chg="mod">
          <ac:chgData name="Remi de Vogel" userId="5948360e-7b9c-4a22-9ada-df5e8b901c82" providerId="ADAL" clId="{848B40CD-DCFD-4256-872E-30365CE333A5}" dt="2022-05-25T13:36:02.584" v="218" actId="1076"/>
          <ac:spMkLst>
            <pc:docMk/>
            <pc:sldMk cId="3996426437" sldId="3106"/>
            <ac:spMk id="2" creationId="{4500B230-741B-499D-BDEB-756AA7B56A0C}"/>
          </ac:spMkLst>
        </pc:spChg>
        <pc:spChg chg="del">
          <ac:chgData name="Remi de Vogel" userId="5948360e-7b9c-4a22-9ada-df5e8b901c82" providerId="ADAL" clId="{848B40CD-DCFD-4256-872E-30365CE333A5}" dt="2022-05-25T13:31:13.815" v="77" actId="478"/>
          <ac:spMkLst>
            <pc:docMk/>
            <pc:sldMk cId="3996426437" sldId="3106"/>
            <ac:spMk id="18" creationId="{4675CA1C-2BD5-4A40-A425-4067DABD7511}"/>
          </ac:spMkLst>
        </pc:spChg>
      </pc:sldChg>
      <pc:sldChg chg="addSp delSp modSp mod modClrScheme chgLayout">
        <pc:chgData name="Remi de Vogel" userId="5948360e-7b9c-4a22-9ada-df5e8b901c82" providerId="ADAL" clId="{848B40CD-DCFD-4256-872E-30365CE333A5}" dt="2022-05-25T15:08:27.997" v="780" actId="478"/>
        <pc:sldMkLst>
          <pc:docMk/>
          <pc:sldMk cId="3083007851" sldId="3107"/>
        </pc:sldMkLst>
        <pc:spChg chg="add del mod">
          <ac:chgData name="Remi de Vogel" userId="5948360e-7b9c-4a22-9ada-df5e8b901c82" providerId="ADAL" clId="{848B40CD-DCFD-4256-872E-30365CE333A5}" dt="2022-05-25T15:08:25.840" v="779"/>
          <ac:spMkLst>
            <pc:docMk/>
            <pc:sldMk cId="3083007851" sldId="3107"/>
            <ac:spMk id="2" creationId="{86A2727D-6AC1-99AB-42D0-76D305C3CE91}"/>
          </ac:spMkLst>
        </pc:spChg>
        <pc:spChg chg="mod ord">
          <ac:chgData name="Remi de Vogel" userId="5948360e-7b9c-4a22-9ada-df5e8b901c82" providerId="ADAL" clId="{848B40CD-DCFD-4256-872E-30365CE333A5}" dt="2022-05-25T13:35:55.433" v="215" actId="700"/>
          <ac:spMkLst>
            <pc:docMk/>
            <pc:sldMk cId="3083007851" sldId="3107"/>
            <ac:spMk id="2" creationId="{E02171EA-2861-4121-8C82-DBA9A0ED5AF8}"/>
          </ac:spMkLst>
        </pc:spChg>
        <pc:spChg chg="add del mod">
          <ac:chgData name="Remi de Vogel" userId="5948360e-7b9c-4a22-9ada-df5e8b901c82" providerId="ADAL" clId="{848B40CD-DCFD-4256-872E-30365CE333A5}" dt="2022-05-25T15:08:25.840" v="779"/>
          <ac:spMkLst>
            <pc:docMk/>
            <pc:sldMk cId="3083007851" sldId="3107"/>
            <ac:spMk id="3" creationId="{3EF3E00B-FC7D-1893-6D13-4B6DB8E4BCD7}"/>
          </ac:spMkLst>
        </pc:spChg>
        <pc:spChg chg="mod ord">
          <ac:chgData name="Remi de Vogel" userId="5948360e-7b9c-4a22-9ada-df5e8b901c82" providerId="ADAL" clId="{848B40CD-DCFD-4256-872E-30365CE333A5}" dt="2022-05-25T13:35:55.433" v="215" actId="700"/>
          <ac:spMkLst>
            <pc:docMk/>
            <pc:sldMk cId="3083007851" sldId="3107"/>
            <ac:spMk id="3" creationId="{5FC9E5EC-D94C-4A02-9631-CCEC24F7650F}"/>
          </ac:spMkLst>
        </pc:spChg>
        <pc:spChg chg="mod ord">
          <ac:chgData name="Remi de Vogel" userId="5948360e-7b9c-4a22-9ada-df5e8b901c82" providerId="ADAL" clId="{848B40CD-DCFD-4256-872E-30365CE333A5}" dt="2022-05-25T15:08:25.840" v="779"/>
          <ac:spMkLst>
            <pc:docMk/>
            <pc:sldMk cId="3083007851" sldId="3107"/>
            <ac:spMk id="4" creationId="{00000000-0000-0000-0000-000000000000}"/>
          </ac:spMkLst>
        </pc:spChg>
        <pc:spChg chg="mod ord">
          <ac:chgData name="Remi de Vogel" userId="5948360e-7b9c-4a22-9ada-df5e8b901c82" providerId="ADAL" clId="{848B40CD-DCFD-4256-872E-30365CE333A5}" dt="2022-05-25T15:08:25.840" v="779"/>
          <ac:spMkLst>
            <pc:docMk/>
            <pc:sldMk cId="3083007851" sldId="3107"/>
            <ac:spMk id="5" creationId="{00000000-0000-0000-0000-000000000000}"/>
          </ac:spMkLst>
        </pc:spChg>
        <pc:spChg chg="add del mod">
          <ac:chgData name="Remi de Vogel" userId="5948360e-7b9c-4a22-9ada-df5e8b901c82" providerId="ADAL" clId="{848B40CD-DCFD-4256-872E-30365CE333A5}" dt="2022-05-25T15:08:25.840" v="779"/>
          <ac:spMkLst>
            <pc:docMk/>
            <pc:sldMk cId="3083007851" sldId="3107"/>
            <ac:spMk id="6" creationId="{0C2EDBB6-BC30-3588-055E-C59F1D6EBA6E}"/>
          </ac:spMkLst>
        </pc:spChg>
        <pc:spChg chg="mod ord">
          <ac:chgData name="Remi de Vogel" userId="5948360e-7b9c-4a22-9ada-df5e8b901c82" providerId="ADAL" clId="{848B40CD-DCFD-4256-872E-30365CE333A5}" dt="2022-05-25T13:35:55.433" v="215" actId="700"/>
          <ac:spMkLst>
            <pc:docMk/>
            <pc:sldMk cId="3083007851" sldId="3107"/>
            <ac:spMk id="6" creationId="{5F5640BA-187C-42FD-A096-E01E7DAAEE0F}"/>
          </ac:spMkLst>
        </pc:spChg>
        <pc:spChg chg="add del mod ord">
          <ac:chgData name="Remi de Vogel" userId="5948360e-7b9c-4a22-9ada-df5e8b901c82" providerId="ADAL" clId="{848B40CD-DCFD-4256-872E-30365CE333A5}" dt="2022-05-25T13:35:58.064" v="217" actId="478"/>
          <ac:spMkLst>
            <pc:docMk/>
            <pc:sldMk cId="3083007851" sldId="3107"/>
            <ac:spMk id="7" creationId="{0E77C8EB-C1DA-FCC8-FCE9-01066540D71F}"/>
          </ac:spMkLst>
        </pc:spChg>
        <pc:spChg chg="add del mod">
          <ac:chgData name="Remi de Vogel" userId="5948360e-7b9c-4a22-9ada-df5e8b901c82" providerId="ADAL" clId="{848B40CD-DCFD-4256-872E-30365CE333A5}" dt="2022-05-25T15:08:27.997" v="780" actId="478"/>
          <ac:spMkLst>
            <pc:docMk/>
            <pc:sldMk cId="3083007851" sldId="3107"/>
            <ac:spMk id="7" creationId="{2568EA02-9DB1-A16C-421A-09166A588312}"/>
          </ac:spMkLst>
        </pc:spChg>
        <pc:spChg chg="mod ord">
          <ac:chgData name="Remi de Vogel" userId="5948360e-7b9c-4a22-9ada-df5e8b901c82" providerId="ADAL" clId="{848B40CD-DCFD-4256-872E-30365CE333A5}" dt="2022-05-25T15:08:25.840" v="779"/>
          <ac:spMkLst>
            <pc:docMk/>
            <pc:sldMk cId="3083007851" sldId="3107"/>
            <ac:spMk id="9" creationId="{218724F4-1C10-4586-860A-5BCF6B595806}"/>
          </ac:spMkLst>
        </pc:spChg>
        <pc:spChg chg="del">
          <ac:chgData name="Remi de Vogel" userId="5948360e-7b9c-4a22-9ada-df5e8b901c82" providerId="ADAL" clId="{848B40CD-DCFD-4256-872E-30365CE333A5}" dt="2022-05-25T13:35:56.640" v="216" actId="478"/>
          <ac:spMkLst>
            <pc:docMk/>
            <pc:sldMk cId="3083007851" sldId="3107"/>
            <ac:spMk id="27" creationId="{4700B8FE-03A1-4978-9E35-8A8B7B2AEE10}"/>
          </ac:spMkLst>
        </pc:spChg>
      </pc:sldChg>
      <pc:sldChg chg="addSp delSp modSp mod modClrScheme chgLayout">
        <pc:chgData name="Remi de Vogel" userId="5948360e-7b9c-4a22-9ada-df5e8b901c82" providerId="ADAL" clId="{848B40CD-DCFD-4256-872E-30365CE333A5}" dt="2022-05-25T13:39:40.536" v="329" actId="1076"/>
        <pc:sldMkLst>
          <pc:docMk/>
          <pc:sldMk cId="505028935" sldId="3215"/>
        </pc:sldMkLst>
        <pc:spChg chg="mod ord">
          <ac:chgData name="Remi de Vogel" userId="5948360e-7b9c-4a22-9ada-df5e8b901c82" providerId="ADAL" clId="{848B40CD-DCFD-4256-872E-30365CE333A5}" dt="2022-05-25T13:39:09.096" v="316" actId="700"/>
          <ac:spMkLst>
            <pc:docMk/>
            <pc:sldMk cId="505028935" sldId="3215"/>
            <ac:spMk id="2" creationId="{00000000-0000-0000-0000-000000000000}"/>
          </ac:spMkLst>
        </pc:spChg>
        <pc:spChg chg="mod ord">
          <ac:chgData name="Remi de Vogel" userId="5948360e-7b9c-4a22-9ada-df5e8b901c82" providerId="ADAL" clId="{848B40CD-DCFD-4256-872E-30365CE333A5}" dt="2022-05-25T13:39:09.096" v="316" actId="700"/>
          <ac:spMkLst>
            <pc:docMk/>
            <pc:sldMk cId="505028935" sldId="3215"/>
            <ac:spMk id="3" creationId="{F9D265C6-7FFB-3EE9-2F3E-86E8D361E79C}"/>
          </ac:spMkLst>
        </pc:spChg>
        <pc:spChg chg="mod ord">
          <ac:chgData name="Remi de Vogel" userId="5948360e-7b9c-4a22-9ada-df5e8b901c82" providerId="ADAL" clId="{848B40CD-DCFD-4256-872E-30365CE333A5}" dt="2022-05-25T13:39:09.096" v="316" actId="700"/>
          <ac:spMkLst>
            <pc:docMk/>
            <pc:sldMk cId="505028935" sldId="3215"/>
            <ac:spMk id="6" creationId="{00000000-0000-0000-0000-000000000000}"/>
          </ac:spMkLst>
        </pc:spChg>
        <pc:spChg chg="add del mod ord">
          <ac:chgData name="Remi de Vogel" userId="5948360e-7b9c-4a22-9ada-df5e8b901c82" providerId="ADAL" clId="{848B40CD-DCFD-4256-872E-30365CE333A5}" dt="2022-05-25T13:39:09.096" v="316" actId="700"/>
          <ac:spMkLst>
            <pc:docMk/>
            <pc:sldMk cId="505028935" sldId="3215"/>
            <ac:spMk id="7" creationId="{A916A608-7B11-D1B4-2173-D4384DE35B20}"/>
          </ac:spMkLst>
        </pc:spChg>
        <pc:spChg chg="add del mod ord">
          <ac:chgData name="Remi de Vogel" userId="5948360e-7b9c-4a22-9ada-df5e8b901c82" providerId="ADAL" clId="{848B40CD-DCFD-4256-872E-30365CE333A5}" dt="2022-05-25T13:39:34.804" v="327" actId="478"/>
          <ac:spMkLst>
            <pc:docMk/>
            <pc:sldMk cId="505028935" sldId="3215"/>
            <ac:spMk id="8" creationId="{C037E8CE-0309-9D0F-E5AC-5AC7B5675977}"/>
          </ac:spMkLst>
        </pc:spChg>
        <pc:spChg chg="mod ord">
          <ac:chgData name="Remi de Vogel" userId="5948360e-7b9c-4a22-9ada-df5e8b901c82" providerId="ADAL" clId="{848B40CD-DCFD-4256-872E-30365CE333A5}" dt="2022-05-25T13:39:09.096" v="316" actId="700"/>
          <ac:spMkLst>
            <pc:docMk/>
            <pc:sldMk cId="505028935" sldId="3215"/>
            <ac:spMk id="12" creationId="{A66772CB-045F-71BE-34E3-05DC526D6C31}"/>
          </ac:spMkLst>
        </pc:spChg>
        <pc:spChg chg="add del mod">
          <ac:chgData name="Remi de Vogel" userId="5948360e-7b9c-4a22-9ada-df5e8b901c82" providerId="ADAL" clId="{848B40CD-DCFD-4256-872E-30365CE333A5}" dt="2022-05-25T13:39:40.536" v="329" actId="1076"/>
          <ac:spMkLst>
            <pc:docMk/>
            <pc:sldMk cId="505028935" sldId="3215"/>
            <ac:spMk id="19" creationId="{3A7B179C-9786-FA6E-A131-B2FF43BE1012}"/>
          </ac:spMkLst>
        </pc:spChg>
        <pc:spChg chg="mod ord">
          <ac:chgData name="Remi de Vogel" userId="5948360e-7b9c-4a22-9ada-df5e8b901c82" providerId="ADAL" clId="{848B40CD-DCFD-4256-872E-30365CE333A5}" dt="2022-05-25T13:39:09.096" v="316" actId="700"/>
          <ac:spMkLst>
            <pc:docMk/>
            <pc:sldMk cId="505028935" sldId="3215"/>
            <ac:spMk id="20" creationId="{0CA6AC2A-DFEE-D2F1-0FD3-E751E1AD7003}"/>
          </ac:spMkLst>
        </pc:spChg>
        <pc:spChg chg="mod ord">
          <ac:chgData name="Remi de Vogel" userId="5948360e-7b9c-4a22-9ada-df5e8b901c82" providerId="ADAL" clId="{848B40CD-DCFD-4256-872E-30365CE333A5}" dt="2022-05-25T13:39:09.096" v="316" actId="700"/>
          <ac:spMkLst>
            <pc:docMk/>
            <pc:sldMk cId="505028935" sldId="3215"/>
            <ac:spMk id="21" creationId="{28212589-DEF2-89D1-4101-EEEB65E0202F}"/>
          </ac:spMkLst>
        </pc:spChg>
        <pc:graphicFrameChg chg="add del mod">
          <ac:chgData name="Remi de Vogel" userId="5948360e-7b9c-4a22-9ada-df5e8b901c82" providerId="ADAL" clId="{848B40CD-DCFD-4256-872E-30365CE333A5}" dt="2022-05-25T13:39:31.431" v="326" actId="478"/>
          <ac:graphicFrameMkLst>
            <pc:docMk/>
            <pc:sldMk cId="505028935" sldId="3215"/>
            <ac:graphicFrameMk id="24" creationId="{DDB50D0C-1465-3AB4-DDF6-A6B4C935878B}"/>
          </ac:graphicFrameMkLst>
        </pc:graphicFrameChg>
      </pc:sldChg>
      <pc:sldChg chg="delSp modSp mod modClrScheme chgLayout">
        <pc:chgData name="Remi de Vogel" userId="5948360e-7b9c-4a22-9ada-df5e8b901c82" providerId="ADAL" clId="{848B40CD-DCFD-4256-872E-30365CE333A5}" dt="2022-05-25T15:10:16.200" v="801" actId="478"/>
        <pc:sldMkLst>
          <pc:docMk/>
          <pc:sldMk cId="2697482736" sldId="3288"/>
        </pc:sldMkLst>
        <pc:spChg chg="mod ord">
          <ac:chgData name="Remi de Vogel" userId="5948360e-7b9c-4a22-9ada-df5e8b901c82" providerId="ADAL" clId="{848B40CD-DCFD-4256-872E-30365CE333A5}" dt="2022-05-25T13:38:00.104" v="280" actId="700"/>
          <ac:spMkLst>
            <pc:docMk/>
            <pc:sldMk cId="2697482736" sldId="3288"/>
            <ac:spMk id="3" creationId="{D0082F1F-3D33-4112-AFA3-825047F2B1AC}"/>
          </ac:spMkLst>
        </pc:spChg>
        <pc:spChg chg="mod ord">
          <ac:chgData name="Remi de Vogel" userId="5948360e-7b9c-4a22-9ada-df5e8b901c82" providerId="ADAL" clId="{848B40CD-DCFD-4256-872E-30365CE333A5}" dt="2022-05-25T13:38:00.104" v="280" actId="700"/>
          <ac:spMkLst>
            <pc:docMk/>
            <pc:sldMk cId="2697482736" sldId="3288"/>
            <ac:spMk id="4" creationId="{EFF31CBC-4FA6-4CD9-B447-13E9DEB28AF6}"/>
          </ac:spMkLst>
        </pc:spChg>
        <pc:spChg chg="mod ord">
          <ac:chgData name="Remi de Vogel" userId="5948360e-7b9c-4a22-9ada-df5e8b901c82" providerId="ADAL" clId="{848B40CD-DCFD-4256-872E-30365CE333A5}" dt="2022-05-25T13:38:00.104" v="280" actId="700"/>
          <ac:spMkLst>
            <pc:docMk/>
            <pc:sldMk cId="2697482736" sldId="3288"/>
            <ac:spMk id="5" creationId="{00000000-0000-0000-0000-000000000000}"/>
          </ac:spMkLst>
        </pc:spChg>
        <pc:spChg chg="mod ord">
          <ac:chgData name="Remi de Vogel" userId="5948360e-7b9c-4a22-9ada-df5e8b901c82" providerId="ADAL" clId="{848B40CD-DCFD-4256-872E-30365CE333A5}" dt="2022-05-25T13:38:00.104" v="280" actId="700"/>
          <ac:spMkLst>
            <pc:docMk/>
            <pc:sldMk cId="2697482736" sldId="3288"/>
            <ac:spMk id="8" creationId="{00000000-0000-0000-0000-000000000000}"/>
          </ac:spMkLst>
        </pc:spChg>
        <pc:spChg chg="mod ord">
          <ac:chgData name="Remi de Vogel" userId="5948360e-7b9c-4a22-9ada-df5e8b901c82" providerId="ADAL" clId="{848B40CD-DCFD-4256-872E-30365CE333A5}" dt="2022-05-25T13:38:00.104" v="280" actId="700"/>
          <ac:spMkLst>
            <pc:docMk/>
            <pc:sldMk cId="2697482736" sldId="3288"/>
            <ac:spMk id="10" creationId="{44253F1B-F156-4CA6-9EF0-AE765590EA50}"/>
          </ac:spMkLst>
        </pc:spChg>
        <pc:spChg chg="del">
          <ac:chgData name="Remi de Vogel" userId="5948360e-7b9c-4a22-9ada-df5e8b901c82" providerId="ADAL" clId="{848B40CD-DCFD-4256-872E-30365CE333A5}" dt="2022-05-25T13:38:01.547" v="281" actId="478"/>
          <ac:spMkLst>
            <pc:docMk/>
            <pc:sldMk cId="2697482736" sldId="3288"/>
            <ac:spMk id="48" creationId="{CC8A7E5E-37CE-4CF4-B07D-2EF1A1ED5DD1}"/>
          </ac:spMkLst>
        </pc:spChg>
        <pc:spChg chg="mod ord">
          <ac:chgData name="Remi de Vogel" userId="5948360e-7b9c-4a22-9ada-df5e8b901c82" providerId="ADAL" clId="{848B40CD-DCFD-4256-872E-30365CE333A5}" dt="2022-05-25T13:38:00.104" v="280" actId="700"/>
          <ac:spMkLst>
            <pc:docMk/>
            <pc:sldMk cId="2697482736" sldId="3288"/>
            <ac:spMk id="200" creationId="{56AC9786-AC7F-41EC-BDCF-02F65AF15241}"/>
          </ac:spMkLst>
        </pc:spChg>
        <pc:spChg chg="del mod">
          <ac:chgData name="Remi de Vogel" userId="5948360e-7b9c-4a22-9ada-df5e8b901c82" providerId="ADAL" clId="{848B40CD-DCFD-4256-872E-30365CE333A5}" dt="2022-05-25T13:38:06.003" v="283" actId="478"/>
          <ac:spMkLst>
            <pc:docMk/>
            <pc:sldMk cId="2697482736" sldId="3288"/>
            <ac:spMk id="201" creationId="{34038D51-BDAF-48F8-B400-D07193DD50E2}"/>
          </ac:spMkLst>
        </pc:spChg>
        <pc:spChg chg="del">
          <ac:chgData name="Remi de Vogel" userId="5948360e-7b9c-4a22-9ada-df5e8b901c82" providerId="ADAL" clId="{848B40CD-DCFD-4256-872E-30365CE333A5}" dt="2022-05-25T15:10:16.200" v="801" actId="478"/>
          <ac:spMkLst>
            <pc:docMk/>
            <pc:sldMk cId="2697482736" sldId="3288"/>
            <ac:spMk id="202" creationId="{0749B7A0-371B-4085-8657-28D9887EB22D}"/>
          </ac:spMkLst>
        </pc:spChg>
      </pc:sldChg>
      <pc:sldChg chg="addSp delSp modSp mod modClrScheme chgLayout">
        <pc:chgData name="Remi de Vogel" userId="5948360e-7b9c-4a22-9ada-df5e8b901c82" providerId="ADAL" clId="{848B40CD-DCFD-4256-872E-30365CE333A5}" dt="2022-05-25T13:36:51.668" v="249" actId="478"/>
        <pc:sldMkLst>
          <pc:docMk/>
          <pc:sldMk cId="1921297198" sldId="3290"/>
        </pc:sldMkLst>
        <pc:spChg chg="mod ord">
          <ac:chgData name="Remi de Vogel" userId="5948360e-7b9c-4a22-9ada-df5e8b901c82" providerId="ADAL" clId="{848B40CD-DCFD-4256-872E-30365CE333A5}" dt="2022-05-25T13:36:49.617" v="247" actId="700"/>
          <ac:spMkLst>
            <pc:docMk/>
            <pc:sldMk cId="1921297198" sldId="3290"/>
            <ac:spMk id="2" creationId="{00000000-0000-0000-0000-000000000000}"/>
          </ac:spMkLst>
        </pc:spChg>
        <pc:spChg chg="mod ord">
          <ac:chgData name="Remi de Vogel" userId="5948360e-7b9c-4a22-9ada-df5e8b901c82" providerId="ADAL" clId="{848B40CD-DCFD-4256-872E-30365CE333A5}" dt="2022-05-25T13:36:49.617" v="247" actId="700"/>
          <ac:spMkLst>
            <pc:docMk/>
            <pc:sldMk cId="1921297198" sldId="3290"/>
            <ac:spMk id="3" creationId="{3030D353-CFA9-4C47-B9BD-171C384EBA1B}"/>
          </ac:spMkLst>
        </pc:spChg>
        <pc:spChg chg="mod ord">
          <ac:chgData name="Remi de Vogel" userId="5948360e-7b9c-4a22-9ada-df5e8b901c82" providerId="ADAL" clId="{848B40CD-DCFD-4256-872E-30365CE333A5}" dt="2022-05-25T13:36:49.617" v="247" actId="700"/>
          <ac:spMkLst>
            <pc:docMk/>
            <pc:sldMk cId="1921297198" sldId="3290"/>
            <ac:spMk id="4" creationId="{62348126-DD73-4962-ADCE-9A96081964C3}"/>
          </ac:spMkLst>
        </pc:spChg>
        <pc:spChg chg="mod ord">
          <ac:chgData name="Remi de Vogel" userId="5948360e-7b9c-4a22-9ada-df5e8b901c82" providerId="ADAL" clId="{848B40CD-DCFD-4256-872E-30365CE333A5}" dt="2022-05-25T13:36:49.617" v="247" actId="700"/>
          <ac:spMkLst>
            <pc:docMk/>
            <pc:sldMk cId="1921297198" sldId="3290"/>
            <ac:spMk id="5" creationId="{C7391803-421C-46FD-B044-1962D48B4697}"/>
          </ac:spMkLst>
        </pc:spChg>
        <pc:spChg chg="add del mod ord">
          <ac:chgData name="Remi de Vogel" userId="5948360e-7b9c-4a22-9ada-df5e8b901c82" providerId="ADAL" clId="{848B40CD-DCFD-4256-872E-30365CE333A5}" dt="2022-05-25T13:36:51.668" v="249" actId="478"/>
          <ac:spMkLst>
            <pc:docMk/>
            <pc:sldMk cId="1921297198" sldId="3290"/>
            <ac:spMk id="6" creationId="{70C1A683-5580-3D76-E553-5068630BA846}"/>
          </ac:spMkLst>
        </pc:spChg>
        <pc:spChg chg="mod ord">
          <ac:chgData name="Remi de Vogel" userId="5948360e-7b9c-4a22-9ada-df5e8b901c82" providerId="ADAL" clId="{848B40CD-DCFD-4256-872E-30365CE333A5}" dt="2022-05-25T13:36:49.617" v="247" actId="700"/>
          <ac:spMkLst>
            <pc:docMk/>
            <pc:sldMk cId="1921297198" sldId="3290"/>
            <ac:spMk id="7" creationId="{69BC1DBF-D4D6-4050-9E69-87806FFDF5A3}"/>
          </ac:spMkLst>
        </pc:spChg>
        <pc:spChg chg="mod ord">
          <ac:chgData name="Remi de Vogel" userId="5948360e-7b9c-4a22-9ada-df5e8b901c82" providerId="ADAL" clId="{848B40CD-DCFD-4256-872E-30365CE333A5}" dt="2022-05-25T13:36:49.617" v="247" actId="700"/>
          <ac:spMkLst>
            <pc:docMk/>
            <pc:sldMk cId="1921297198" sldId="3290"/>
            <ac:spMk id="10" creationId="{00000000-0000-0000-0000-000000000000}"/>
          </ac:spMkLst>
        </pc:spChg>
        <pc:spChg chg="del">
          <ac:chgData name="Remi de Vogel" userId="5948360e-7b9c-4a22-9ada-df5e8b901c82" providerId="ADAL" clId="{848B40CD-DCFD-4256-872E-30365CE333A5}" dt="2022-05-25T13:36:50.666" v="248" actId="478"/>
          <ac:spMkLst>
            <pc:docMk/>
            <pc:sldMk cId="1921297198" sldId="3290"/>
            <ac:spMk id="46" creationId="{C532C2B1-9FD6-4EEA-8893-774057069CE5}"/>
          </ac:spMkLst>
        </pc:spChg>
      </pc:sldChg>
      <pc:sldChg chg="addSp delSp modSp mod modClrScheme chgLayout">
        <pc:chgData name="Remi de Vogel" userId="5948360e-7b9c-4a22-9ada-df5e8b901c82" providerId="ADAL" clId="{848B40CD-DCFD-4256-872E-30365CE333A5}" dt="2022-05-25T13:38:55.113" v="312" actId="478"/>
        <pc:sldMkLst>
          <pc:docMk/>
          <pc:sldMk cId="1472354284" sldId="3312"/>
        </pc:sldMkLst>
        <pc:spChg chg="mod ord">
          <ac:chgData name="Remi de Vogel" userId="5948360e-7b9c-4a22-9ada-df5e8b901c82" providerId="ADAL" clId="{848B40CD-DCFD-4256-872E-30365CE333A5}" dt="2022-05-25T13:38:50.725" v="310" actId="700"/>
          <ac:spMkLst>
            <pc:docMk/>
            <pc:sldMk cId="1472354284" sldId="3312"/>
            <ac:spMk id="2" creationId="{0E961402-2508-08B7-4D78-11971DF8F2C5}"/>
          </ac:spMkLst>
        </pc:spChg>
        <pc:spChg chg="mod ord">
          <ac:chgData name="Remi de Vogel" userId="5948360e-7b9c-4a22-9ada-df5e8b901c82" providerId="ADAL" clId="{848B40CD-DCFD-4256-872E-30365CE333A5}" dt="2022-05-25T13:38:50.725" v="310" actId="700"/>
          <ac:spMkLst>
            <pc:docMk/>
            <pc:sldMk cId="1472354284" sldId="3312"/>
            <ac:spMk id="3" creationId="{A481AD6B-83D1-4971-AA46-29DD172CB08F}"/>
          </ac:spMkLst>
        </pc:spChg>
        <pc:spChg chg="add del mod ord">
          <ac:chgData name="Remi de Vogel" userId="5948360e-7b9c-4a22-9ada-df5e8b901c82" providerId="ADAL" clId="{848B40CD-DCFD-4256-872E-30365CE333A5}" dt="2022-05-25T13:38:24.016" v="286" actId="700"/>
          <ac:spMkLst>
            <pc:docMk/>
            <pc:sldMk cId="1472354284" sldId="3312"/>
            <ac:spMk id="4" creationId="{3482CEE8-3878-7EAB-73A7-6E406FBB11FF}"/>
          </ac:spMkLst>
        </pc:spChg>
        <pc:spChg chg="add del mod ord">
          <ac:chgData name="Remi de Vogel" userId="5948360e-7b9c-4a22-9ada-df5e8b901c82" providerId="ADAL" clId="{848B40CD-DCFD-4256-872E-30365CE333A5}" dt="2022-05-25T13:38:55.113" v="312" actId="478"/>
          <ac:spMkLst>
            <pc:docMk/>
            <pc:sldMk cId="1472354284" sldId="3312"/>
            <ac:spMk id="5" creationId="{9DA05250-0768-A7C2-41BA-69C5304BF4D7}"/>
          </ac:spMkLst>
        </pc:spChg>
        <pc:spChg chg="mod ord">
          <ac:chgData name="Remi de Vogel" userId="5948360e-7b9c-4a22-9ada-df5e8b901c82" providerId="ADAL" clId="{848B40CD-DCFD-4256-872E-30365CE333A5}" dt="2022-05-25T13:38:50.725" v="310" actId="700"/>
          <ac:spMkLst>
            <pc:docMk/>
            <pc:sldMk cId="1472354284" sldId="3312"/>
            <ac:spMk id="14" creationId="{A270F4CB-B07F-E37A-697F-60D6E10601C2}"/>
          </ac:spMkLst>
        </pc:spChg>
        <pc:spChg chg="mod ord">
          <ac:chgData name="Remi de Vogel" userId="5948360e-7b9c-4a22-9ada-df5e8b901c82" providerId="ADAL" clId="{848B40CD-DCFD-4256-872E-30365CE333A5}" dt="2022-05-25T13:38:50.725" v="310" actId="700"/>
          <ac:spMkLst>
            <pc:docMk/>
            <pc:sldMk cId="1472354284" sldId="3312"/>
            <ac:spMk id="15" creationId="{CE911A81-1B5A-1D25-E70A-3683BE8EA2B8}"/>
          </ac:spMkLst>
        </pc:spChg>
        <pc:spChg chg="del">
          <ac:chgData name="Remi de Vogel" userId="5948360e-7b9c-4a22-9ada-df5e8b901c82" providerId="ADAL" clId="{848B40CD-DCFD-4256-872E-30365CE333A5}" dt="2022-05-25T13:38:51.784" v="311" actId="478"/>
          <ac:spMkLst>
            <pc:docMk/>
            <pc:sldMk cId="1472354284" sldId="3312"/>
            <ac:spMk id="82" creationId="{94BA3B7D-F565-74E4-B3C0-A1F283EFCAF5}"/>
          </ac:spMkLst>
        </pc:spChg>
        <pc:spChg chg="mod ord">
          <ac:chgData name="Remi de Vogel" userId="5948360e-7b9c-4a22-9ada-df5e8b901c82" providerId="ADAL" clId="{848B40CD-DCFD-4256-872E-30365CE333A5}" dt="2022-05-25T13:38:50.725" v="310" actId="700"/>
          <ac:spMkLst>
            <pc:docMk/>
            <pc:sldMk cId="1472354284" sldId="3312"/>
            <ac:spMk id="84" creationId="{45B96243-FBD6-6BE8-F0F1-CDBA0EFFD0A4}"/>
          </ac:spMkLst>
        </pc:spChg>
        <pc:spChg chg="mod ord">
          <ac:chgData name="Remi de Vogel" userId="5948360e-7b9c-4a22-9ada-df5e8b901c82" providerId="ADAL" clId="{848B40CD-DCFD-4256-872E-30365CE333A5}" dt="2022-05-25T13:38:50.725" v="310" actId="700"/>
          <ac:spMkLst>
            <pc:docMk/>
            <pc:sldMk cId="1472354284" sldId="3312"/>
            <ac:spMk id="85" creationId="{DA61AE51-B532-2A70-4258-3055F1A16D7A}"/>
          </ac:spMkLst>
        </pc:spChg>
      </pc:sldChg>
      <pc:sldChg chg="addSp delSp modSp mod modClrScheme chgLayout">
        <pc:chgData name="Remi de Vogel" userId="5948360e-7b9c-4a22-9ada-df5e8b901c82" providerId="ADAL" clId="{848B40CD-DCFD-4256-872E-30365CE333A5}" dt="2022-05-25T13:40:29.787" v="355" actId="478"/>
        <pc:sldMkLst>
          <pc:docMk/>
          <pc:sldMk cId="3126572166" sldId="3345"/>
        </pc:sldMkLst>
        <pc:spChg chg="mod ord">
          <ac:chgData name="Remi de Vogel" userId="5948360e-7b9c-4a22-9ada-df5e8b901c82" providerId="ADAL" clId="{848B40CD-DCFD-4256-872E-30365CE333A5}" dt="2022-05-25T13:40:27.581" v="353" actId="700"/>
          <ac:spMkLst>
            <pc:docMk/>
            <pc:sldMk cId="3126572166" sldId="3345"/>
            <ac:spMk id="2" creationId="{00000000-0000-0000-0000-000000000000}"/>
          </ac:spMkLst>
        </pc:spChg>
        <pc:spChg chg="mod ord">
          <ac:chgData name="Remi de Vogel" userId="5948360e-7b9c-4a22-9ada-df5e8b901c82" providerId="ADAL" clId="{848B40CD-DCFD-4256-872E-30365CE333A5}" dt="2022-05-25T13:40:27.581" v="353" actId="700"/>
          <ac:spMkLst>
            <pc:docMk/>
            <pc:sldMk cId="3126572166" sldId="3345"/>
            <ac:spMk id="5" creationId="{9D8EC6F4-91C5-48C6-BB97-D56C3903060B}"/>
          </ac:spMkLst>
        </pc:spChg>
        <pc:spChg chg="mod ord">
          <ac:chgData name="Remi de Vogel" userId="5948360e-7b9c-4a22-9ada-df5e8b901c82" providerId="ADAL" clId="{848B40CD-DCFD-4256-872E-30365CE333A5}" dt="2022-05-25T13:40:27.581" v="353" actId="700"/>
          <ac:spMkLst>
            <pc:docMk/>
            <pc:sldMk cId="3126572166" sldId="3345"/>
            <ac:spMk id="6" creationId="{00000000-0000-0000-0000-000000000000}"/>
          </ac:spMkLst>
        </pc:spChg>
        <pc:spChg chg="add del mod ord">
          <ac:chgData name="Remi de Vogel" userId="5948360e-7b9c-4a22-9ada-df5e8b901c82" providerId="ADAL" clId="{848B40CD-DCFD-4256-872E-30365CE333A5}" dt="2022-05-25T13:40:27.581" v="353" actId="700"/>
          <ac:spMkLst>
            <pc:docMk/>
            <pc:sldMk cId="3126572166" sldId="3345"/>
            <ac:spMk id="7" creationId="{6E8FC15B-E869-A7E7-82E7-24003AD1759F}"/>
          </ac:spMkLst>
        </pc:spChg>
        <pc:spChg chg="add del mod ord">
          <ac:chgData name="Remi de Vogel" userId="5948360e-7b9c-4a22-9ada-df5e8b901c82" providerId="ADAL" clId="{848B40CD-DCFD-4256-872E-30365CE333A5}" dt="2022-05-25T13:40:29.787" v="355" actId="478"/>
          <ac:spMkLst>
            <pc:docMk/>
            <pc:sldMk cId="3126572166" sldId="3345"/>
            <ac:spMk id="8" creationId="{56740CCF-7188-E5BE-1011-348705CE94B6}"/>
          </ac:spMkLst>
        </pc:spChg>
        <pc:spChg chg="mod ord">
          <ac:chgData name="Remi de Vogel" userId="5948360e-7b9c-4a22-9ada-df5e8b901c82" providerId="ADAL" clId="{848B40CD-DCFD-4256-872E-30365CE333A5}" dt="2022-05-25T13:40:27.581" v="353" actId="700"/>
          <ac:spMkLst>
            <pc:docMk/>
            <pc:sldMk cId="3126572166" sldId="3345"/>
            <ac:spMk id="9" creationId="{0D121505-23E2-421F-8A2D-8A3E1EDBBED3}"/>
          </ac:spMkLst>
        </pc:spChg>
        <pc:spChg chg="mod ord">
          <ac:chgData name="Remi de Vogel" userId="5948360e-7b9c-4a22-9ada-df5e8b901c82" providerId="ADAL" clId="{848B40CD-DCFD-4256-872E-30365CE333A5}" dt="2022-05-25T13:40:27.581" v="353" actId="700"/>
          <ac:spMkLst>
            <pc:docMk/>
            <pc:sldMk cId="3126572166" sldId="3345"/>
            <ac:spMk id="10" creationId="{6E82D74A-C8F5-43AA-B0E4-D1BE2FAFDBC6}"/>
          </ac:spMkLst>
        </pc:spChg>
        <pc:spChg chg="mod ord">
          <ac:chgData name="Remi de Vogel" userId="5948360e-7b9c-4a22-9ada-df5e8b901c82" providerId="ADAL" clId="{848B40CD-DCFD-4256-872E-30365CE333A5}" dt="2022-05-25T13:40:27.581" v="353" actId="700"/>
          <ac:spMkLst>
            <pc:docMk/>
            <pc:sldMk cId="3126572166" sldId="3345"/>
            <ac:spMk id="12" creationId="{02357B19-B34F-4481-A7D1-3C004D6B2CC1}"/>
          </ac:spMkLst>
        </pc:spChg>
        <pc:spChg chg="add del">
          <ac:chgData name="Remi de Vogel" userId="5948360e-7b9c-4a22-9ada-df5e8b901c82" providerId="ADAL" clId="{848B40CD-DCFD-4256-872E-30365CE333A5}" dt="2022-05-25T13:40:28.657" v="354" actId="478"/>
          <ac:spMkLst>
            <pc:docMk/>
            <pc:sldMk cId="3126572166" sldId="3345"/>
            <ac:spMk id="37" creationId="{74818E28-C919-43E7-907E-FD1E8D58D316}"/>
          </ac:spMkLst>
        </pc:spChg>
      </pc:sldChg>
      <pc:sldChg chg="addSp delSp modSp mod modClrScheme chgLayout">
        <pc:chgData name="Remi de Vogel" userId="5948360e-7b9c-4a22-9ada-df5e8b901c82" providerId="ADAL" clId="{848B40CD-DCFD-4256-872E-30365CE333A5}" dt="2022-05-25T15:10:30.466" v="803" actId="478"/>
        <pc:sldMkLst>
          <pc:docMk/>
          <pc:sldMk cId="1455400394" sldId="3354"/>
        </pc:sldMkLst>
        <pc:spChg chg="mod ord">
          <ac:chgData name="Remi de Vogel" userId="5948360e-7b9c-4a22-9ada-df5e8b901c82" providerId="ADAL" clId="{848B40CD-DCFD-4256-872E-30365CE333A5}" dt="2022-05-25T13:40:48.479" v="358" actId="700"/>
          <ac:spMkLst>
            <pc:docMk/>
            <pc:sldMk cId="1455400394" sldId="3354"/>
            <ac:spMk id="2" creationId="{55D03746-B08E-49CD-9127-518E0851BD25}"/>
          </ac:spMkLst>
        </pc:spChg>
        <pc:spChg chg="add del mod ord">
          <ac:chgData name="Remi de Vogel" userId="5948360e-7b9c-4a22-9ada-df5e8b901c82" providerId="ADAL" clId="{848B40CD-DCFD-4256-872E-30365CE333A5}" dt="2022-05-25T13:40:51.126" v="360" actId="478"/>
          <ac:spMkLst>
            <pc:docMk/>
            <pc:sldMk cId="1455400394" sldId="3354"/>
            <ac:spMk id="4" creationId="{008F7F0C-B941-FC94-ADFF-9D9113190578}"/>
          </ac:spMkLst>
        </pc:spChg>
        <pc:spChg chg="mod ord">
          <ac:chgData name="Remi de Vogel" userId="5948360e-7b9c-4a22-9ada-df5e8b901c82" providerId="ADAL" clId="{848B40CD-DCFD-4256-872E-30365CE333A5}" dt="2022-05-25T13:40:48.479" v="358" actId="700"/>
          <ac:spMkLst>
            <pc:docMk/>
            <pc:sldMk cId="1455400394" sldId="3354"/>
            <ac:spMk id="5" creationId="{3D0FC10F-E93A-4DFD-BC53-1E0EAD0F7F07}"/>
          </ac:spMkLst>
        </pc:spChg>
        <pc:spChg chg="mod ord">
          <ac:chgData name="Remi de Vogel" userId="5948360e-7b9c-4a22-9ada-df5e8b901c82" providerId="ADAL" clId="{848B40CD-DCFD-4256-872E-30365CE333A5}" dt="2022-05-25T13:40:48.479" v="358" actId="700"/>
          <ac:spMkLst>
            <pc:docMk/>
            <pc:sldMk cId="1455400394" sldId="3354"/>
            <ac:spMk id="6" creationId="{827114CF-06B6-4D92-B1CE-EAF4781CFACE}"/>
          </ac:spMkLst>
        </pc:spChg>
        <pc:spChg chg="mod ord">
          <ac:chgData name="Remi de Vogel" userId="5948360e-7b9c-4a22-9ada-df5e8b901c82" providerId="ADAL" clId="{848B40CD-DCFD-4256-872E-30365CE333A5}" dt="2022-05-25T13:40:48.479" v="358" actId="700"/>
          <ac:spMkLst>
            <pc:docMk/>
            <pc:sldMk cId="1455400394" sldId="3354"/>
            <ac:spMk id="11" creationId="{1BDAC04B-DE33-4F1B-98D7-66D50D848508}"/>
          </ac:spMkLst>
        </pc:spChg>
        <pc:spChg chg="mod ord">
          <ac:chgData name="Remi de Vogel" userId="5948360e-7b9c-4a22-9ada-df5e8b901c82" providerId="ADAL" clId="{848B40CD-DCFD-4256-872E-30365CE333A5}" dt="2022-05-25T13:40:48.479" v="358" actId="700"/>
          <ac:spMkLst>
            <pc:docMk/>
            <pc:sldMk cId="1455400394" sldId="3354"/>
            <ac:spMk id="13" creationId="{CC97145B-D96D-4C1A-ADBC-95BBCD94B2CF}"/>
          </ac:spMkLst>
        </pc:spChg>
        <pc:spChg chg="mod ord">
          <ac:chgData name="Remi de Vogel" userId="5948360e-7b9c-4a22-9ada-df5e8b901c82" providerId="ADAL" clId="{848B40CD-DCFD-4256-872E-30365CE333A5}" dt="2022-05-25T13:40:48.479" v="358" actId="700"/>
          <ac:spMkLst>
            <pc:docMk/>
            <pc:sldMk cId="1455400394" sldId="3354"/>
            <ac:spMk id="14" creationId="{01F4A5D8-2F4D-4203-B48D-5581C3F8211E}"/>
          </ac:spMkLst>
        </pc:spChg>
        <pc:spChg chg="del">
          <ac:chgData name="Remi de Vogel" userId="5948360e-7b9c-4a22-9ada-df5e8b901c82" providerId="ADAL" clId="{848B40CD-DCFD-4256-872E-30365CE333A5}" dt="2022-05-25T13:40:49.910" v="359" actId="478"/>
          <ac:spMkLst>
            <pc:docMk/>
            <pc:sldMk cId="1455400394" sldId="3354"/>
            <ac:spMk id="80" creationId="{BAE08922-9AA4-450D-B05B-EF1AB6666588}"/>
          </ac:spMkLst>
        </pc:spChg>
        <pc:spChg chg="del">
          <ac:chgData name="Remi de Vogel" userId="5948360e-7b9c-4a22-9ada-df5e8b901c82" providerId="ADAL" clId="{848B40CD-DCFD-4256-872E-30365CE333A5}" dt="2022-05-25T13:40:53.042" v="361" actId="478"/>
          <ac:spMkLst>
            <pc:docMk/>
            <pc:sldMk cId="1455400394" sldId="3354"/>
            <ac:spMk id="148" creationId="{AA0DD422-30A0-4D08-8654-B2E1CAF8F9C8}"/>
          </ac:spMkLst>
        </pc:spChg>
        <pc:spChg chg="del">
          <ac:chgData name="Remi de Vogel" userId="5948360e-7b9c-4a22-9ada-df5e8b901c82" providerId="ADAL" clId="{848B40CD-DCFD-4256-872E-30365CE333A5}" dt="2022-05-25T15:10:30.466" v="803" actId="478"/>
          <ac:spMkLst>
            <pc:docMk/>
            <pc:sldMk cId="1455400394" sldId="3354"/>
            <ac:spMk id="149" creationId="{8938C2EF-EE95-4CC0-B511-FB091AA6EBF9}"/>
          </ac:spMkLst>
        </pc:spChg>
      </pc:sldChg>
      <pc:sldChg chg="modSp mod">
        <pc:chgData name="Remi de Vogel" userId="5948360e-7b9c-4a22-9ada-df5e8b901c82" providerId="ADAL" clId="{848B40CD-DCFD-4256-872E-30365CE333A5}" dt="2022-05-25T14:47:02.259" v="693" actId="20577"/>
        <pc:sldMkLst>
          <pc:docMk/>
          <pc:sldMk cId="3042663647" sldId="3368"/>
        </pc:sldMkLst>
        <pc:spChg chg="mod">
          <ac:chgData name="Remi de Vogel" userId="5948360e-7b9c-4a22-9ada-df5e8b901c82" providerId="ADAL" clId="{848B40CD-DCFD-4256-872E-30365CE333A5}" dt="2022-05-25T14:47:02.259" v="693" actId="20577"/>
          <ac:spMkLst>
            <pc:docMk/>
            <pc:sldMk cId="3042663647" sldId="3368"/>
            <ac:spMk id="62" creationId="{563B5531-E6BB-44E8-8701-AF6E2B9700CB}"/>
          </ac:spMkLst>
        </pc:spChg>
      </pc:sldChg>
      <pc:sldChg chg="addSp delSp modSp mod modClrScheme chgLayout">
        <pc:chgData name="Remi de Vogel" userId="5948360e-7b9c-4a22-9ada-df5e8b901c82" providerId="ADAL" clId="{848B40CD-DCFD-4256-872E-30365CE333A5}" dt="2022-05-25T13:48:04.540" v="595" actId="478"/>
        <pc:sldMkLst>
          <pc:docMk/>
          <pc:sldMk cId="3165234546" sldId="3374"/>
        </pc:sldMkLst>
        <pc:spChg chg="mod ord">
          <ac:chgData name="Remi de Vogel" userId="5948360e-7b9c-4a22-9ada-df5e8b901c82" providerId="ADAL" clId="{848B40CD-DCFD-4256-872E-30365CE333A5}" dt="2022-05-25T13:48:02.269" v="593" actId="700"/>
          <ac:spMkLst>
            <pc:docMk/>
            <pc:sldMk cId="3165234546" sldId="3374"/>
            <ac:spMk id="2" creationId="{00000000-0000-0000-0000-000000000000}"/>
          </ac:spMkLst>
        </pc:spChg>
        <pc:spChg chg="mod ord">
          <ac:chgData name="Remi de Vogel" userId="5948360e-7b9c-4a22-9ada-df5e8b901c82" providerId="ADAL" clId="{848B40CD-DCFD-4256-872E-30365CE333A5}" dt="2022-05-25T13:48:02.269" v="593" actId="700"/>
          <ac:spMkLst>
            <pc:docMk/>
            <pc:sldMk cId="3165234546" sldId="3374"/>
            <ac:spMk id="5" creationId="{00000000-0000-0000-0000-000000000000}"/>
          </ac:spMkLst>
        </pc:spChg>
        <pc:spChg chg="mod ord">
          <ac:chgData name="Remi de Vogel" userId="5948360e-7b9c-4a22-9ada-df5e8b901c82" providerId="ADAL" clId="{848B40CD-DCFD-4256-872E-30365CE333A5}" dt="2022-05-25T13:48:02.269" v="593" actId="700"/>
          <ac:spMkLst>
            <pc:docMk/>
            <pc:sldMk cId="3165234546" sldId="3374"/>
            <ac:spMk id="6" creationId="{6DDF97AC-5C5E-459A-BCB1-1A2018C8A49E}"/>
          </ac:spMkLst>
        </pc:spChg>
        <pc:spChg chg="add del mod ord">
          <ac:chgData name="Remi de Vogel" userId="5948360e-7b9c-4a22-9ada-df5e8b901c82" providerId="ADAL" clId="{848B40CD-DCFD-4256-872E-30365CE333A5}" dt="2022-05-25T13:48:04.540" v="595" actId="478"/>
          <ac:spMkLst>
            <pc:docMk/>
            <pc:sldMk cId="3165234546" sldId="3374"/>
            <ac:spMk id="7" creationId="{5E5AE476-4C45-5251-3012-34B1A00142FB}"/>
          </ac:spMkLst>
        </pc:spChg>
        <pc:spChg chg="mod ord">
          <ac:chgData name="Remi de Vogel" userId="5948360e-7b9c-4a22-9ada-df5e8b901c82" providerId="ADAL" clId="{848B40CD-DCFD-4256-872E-30365CE333A5}" dt="2022-05-25T13:48:02.269" v="593" actId="700"/>
          <ac:spMkLst>
            <pc:docMk/>
            <pc:sldMk cId="3165234546" sldId="3374"/>
            <ac:spMk id="10" creationId="{BACA1E9C-8BED-4EEC-A9AD-0C808FB6888D}"/>
          </ac:spMkLst>
        </pc:spChg>
        <pc:spChg chg="mod ord">
          <ac:chgData name="Remi de Vogel" userId="5948360e-7b9c-4a22-9ada-df5e8b901c82" providerId="ADAL" clId="{848B40CD-DCFD-4256-872E-30365CE333A5}" dt="2022-05-25T13:48:02.269" v="593" actId="700"/>
          <ac:spMkLst>
            <pc:docMk/>
            <pc:sldMk cId="3165234546" sldId="3374"/>
            <ac:spMk id="11" creationId="{AC5AF02E-D42D-4967-85B0-507397F1642A}"/>
          </ac:spMkLst>
        </pc:spChg>
        <pc:spChg chg="mod ord">
          <ac:chgData name="Remi de Vogel" userId="5948360e-7b9c-4a22-9ada-df5e8b901c82" providerId="ADAL" clId="{848B40CD-DCFD-4256-872E-30365CE333A5}" dt="2022-05-25T13:48:02.269" v="593" actId="700"/>
          <ac:spMkLst>
            <pc:docMk/>
            <pc:sldMk cId="3165234546" sldId="3374"/>
            <ac:spMk id="12" creationId="{A06345CC-018B-46EE-80B5-BB2929C893D5}"/>
          </ac:spMkLst>
        </pc:spChg>
        <pc:spChg chg="del">
          <ac:chgData name="Remi de Vogel" userId="5948360e-7b9c-4a22-9ada-df5e8b901c82" providerId="ADAL" clId="{848B40CD-DCFD-4256-872E-30365CE333A5}" dt="2022-05-25T13:48:03.198" v="594" actId="478"/>
          <ac:spMkLst>
            <pc:docMk/>
            <pc:sldMk cId="3165234546" sldId="3374"/>
            <ac:spMk id="106" creationId="{9DD4147D-E2C2-494C-8FBC-64805FE0E8FF}"/>
          </ac:spMkLst>
        </pc:spChg>
      </pc:sldChg>
      <pc:sldChg chg="addSp delSp modSp mod modClrScheme chgLayout">
        <pc:chgData name="Remi de Vogel" userId="5948360e-7b9c-4a22-9ada-df5e8b901c82" providerId="ADAL" clId="{848B40CD-DCFD-4256-872E-30365CE333A5}" dt="2022-05-25T15:04:04.518" v="748" actId="700"/>
        <pc:sldMkLst>
          <pc:docMk/>
          <pc:sldMk cId="3781992183" sldId="3394"/>
        </pc:sldMkLst>
        <pc:spChg chg="add del mod">
          <ac:chgData name="Remi de Vogel" userId="5948360e-7b9c-4a22-9ada-df5e8b901c82" providerId="ADAL" clId="{848B40CD-DCFD-4256-872E-30365CE333A5}" dt="2022-05-25T15:03:59.987" v="746"/>
          <ac:spMkLst>
            <pc:docMk/>
            <pc:sldMk cId="3781992183" sldId="3394"/>
            <ac:spMk id="2" creationId="{96220164-A5B9-6F71-D45D-798307029FDF}"/>
          </ac:spMkLst>
        </pc:spChg>
        <pc:spChg chg="add del mod">
          <ac:chgData name="Remi de Vogel" userId="5948360e-7b9c-4a22-9ada-df5e8b901c82" providerId="ADAL" clId="{848B40CD-DCFD-4256-872E-30365CE333A5}" dt="2022-05-25T15:03:59.987" v="746"/>
          <ac:spMkLst>
            <pc:docMk/>
            <pc:sldMk cId="3781992183" sldId="3394"/>
            <ac:spMk id="3" creationId="{F303FA31-01B8-3185-0AA2-F999A711656E}"/>
          </ac:spMkLst>
        </pc:spChg>
        <pc:spChg chg="add del mod">
          <ac:chgData name="Remi de Vogel" userId="5948360e-7b9c-4a22-9ada-df5e8b901c82" providerId="ADAL" clId="{848B40CD-DCFD-4256-872E-30365CE333A5}" dt="2022-05-25T15:03:59.987" v="746"/>
          <ac:spMkLst>
            <pc:docMk/>
            <pc:sldMk cId="3781992183" sldId="3394"/>
            <ac:spMk id="4" creationId="{A1EC40B5-4E00-FC96-F011-2C90C9C2594A}"/>
          </ac:spMkLst>
        </pc:spChg>
        <pc:spChg chg="mod ord">
          <ac:chgData name="Remi de Vogel" userId="5948360e-7b9c-4a22-9ada-df5e8b901c82" providerId="ADAL" clId="{848B40CD-DCFD-4256-872E-30365CE333A5}" dt="2022-05-25T15:04:04.518" v="748" actId="700"/>
          <ac:spMkLst>
            <pc:docMk/>
            <pc:sldMk cId="3781992183" sldId="3394"/>
            <ac:spMk id="7" creationId="{FE450533-EE8D-82EB-D136-BDF95185051B}"/>
          </ac:spMkLst>
        </pc:spChg>
        <pc:spChg chg="mod ord">
          <ac:chgData name="Remi de Vogel" userId="5948360e-7b9c-4a22-9ada-df5e8b901c82" providerId="ADAL" clId="{848B40CD-DCFD-4256-872E-30365CE333A5}" dt="2022-05-25T15:04:04.518" v="748" actId="700"/>
          <ac:spMkLst>
            <pc:docMk/>
            <pc:sldMk cId="3781992183" sldId="3394"/>
            <ac:spMk id="13" creationId="{00000000-0000-0000-0000-000000000000}"/>
          </ac:spMkLst>
        </pc:spChg>
        <pc:spChg chg="mod ord">
          <ac:chgData name="Remi de Vogel" userId="5948360e-7b9c-4a22-9ada-df5e8b901c82" providerId="ADAL" clId="{848B40CD-DCFD-4256-872E-30365CE333A5}" dt="2022-05-25T15:04:04.518" v="748" actId="700"/>
          <ac:spMkLst>
            <pc:docMk/>
            <pc:sldMk cId="3781992183" sldId="3394"/>
            <ac:spMk id="14" creationId="{00000000-0000-0000-0000-000000000000}"/>
          </ac:spMkLst>
        </pc:spChg>
        <pc:spChg chg="add del mod">
          <ac:chgData name="Remi de Vogel" userId="5948360e-7b9c-4a22-9ada-df5e8b901c82" providerId="ADAL" clId="{848B40CD-DCFD-4256-872E-30365CE333A5}" dt="2022-05-25T15:04:01.539" v="747" actId="478"/>
          <ac:spMkLst>
            <pc:docMk/>
            <pc:sldMk cId="3781992183" sldId="3394"/>
            <ac:spMk id="27" creationId="{BCDA9DAD-E790-4569-838D-64B7075E5B35}"/>
          </ac:spMkLst>
        </pc:spChg>
      </pc:sldChg>
      <pc:sldChg chg="delSp modSp mod modClrScheme chgLayout">
        <pc:chgData name="Remi de Vogel" userId="5948360e-7b9c-4a22-9ada-df5e8b901c82" providerId="ADAL" clId="{848B40CD-DCFD-4256-872E-30365CE333A5}" dt="2022-05-25T13:41:24.291" v="385" actId="478"/>
        <pc:sldMkLst>
          <pc:docMk/>
          <pc:sldMk cId="2845286037" sldId="3401"/>
        </pc:sldMkLst>
        <pc:spChg chg="mod ord">
          <ac:chgData name="Remi de Vogel" userId="5948360e-7b9c-4a22-9ada-df5e8b901c82" providerId="ADAL" clId="{848B40CD-DCFD-4256-872E-30365CE333A5}" dt="2022-05-25T13:41:23.288" v="384" actId="700"/>
          <ac:spMkLst>
            <pc:docMk/>
            <pc:sldMk cId="2845286037" sldId="3401"/>
            <ac:spMk id="2" creationId="{00000000-0000-0000-0000-000000000000}"/>
          </ac:spMkLst>
        </pc:spChg>
        <pc:spChg chg="mod ord">
          <ac:chgData name="Remi de Vogel" userId="5948360e-7b9c-4a22-9ada-df5e8b901c82" providerId="ADAL" clId="{848B40CD-DCFD-4256-872E-30365CE333A5}" dt="2022-05-25T13:41:23.288" v="384" actId="700"/>
          <ac:spMkLst>
            <pc:docMk/>
            <pc:sldMk cId="2845286037" sldId="3401"/>
            <ac:spMk id="4" creationId="{42952B24-CC6E-4551-83F8-2C75DDA0F764}"/>
          </ac:spMkLst>
        </pc:spChg>
        <pc:spChg chg="mod ord">
          <ac:chgData name="Remi de Vogel" userId="5948360e-7b9c-4a22-9ada-df5e8b901c82" providerId="ADAL" clId="{848B40CD-DCFD-4256-872E-30365CE333A5}" dt="2022-05-25T13:41:23.288" v="384" actId="700"/>
          <ac:spMkLst>
            <pc:docMk/>
            <pc:sldMk cId="2845286037" sldId="3401"/>
            <ac:spMk id="6" creationId="{00000000-0000-0000-0000-000000000000}"/>
          </ac:spMkLst>
        </pc:spChg>
        <pc:spChg chg="mod ord">
          <ac:chgData name="Remi de Vogel" userId="5948360e-7b9c-4a22-9ada-df5e8b901c82" providerId="ADAL" clId="{848B40CD-DCFD-4256-872E-30365CE333A5}" dt="2022-05-25T13:41:23.288" v="384" actId="700"/>
          <ac:spMkLst>
            <pc:docMk/>
            <pc:sldMk cId="2845286037" sldId="3401"/>
            <ac:spMk id="9" creationId="{7670046F-5EB9-4CB4-9713-9B8B8CBEDC5E}"/>
          </ac:spMkLst>
        </pc:spChg>
        <pc:spChg chg="mod ord">
          <ac:chgData name="Remi de Vogel" userId="5948360e-7b9c-4a22-9ada-df5e8b901c82" providerId="ADAL" clId="{848B40CD-DCFD-4256-872E-30365CE333A5}" dt="2022-05-25T13:41:23.288" v="384" actId="700"/>
          <ac:spMkLst>
            <pc:docMk/>
            <pc:sldMk cId="2845286037" sldId="3401"/>
            <ac:spMk id="54" creationId="{522A83D5-646C-488B-9D69-1DD1D72B28A4}"/>
          </ac:spMkLst>
        </pc:spChg>
        <pc:spChg chg="mod ord">
          <ac:chgData name="Remi de Vogel" userId="5948360e-7b9c-4a22-9ada-df5e8b901c82" providerId="ADAL" clId="{848B40CD-DCFD-4256-872E-30365CE333A5}" dt="2022-05-25T13:41:23.288" v="384" actId="700"/>
          <ac:spMkLst>
            <pc:docMk/>
            <pc:sldMk cId="2845286037" sldId="3401"/>
            <ac:spMk id="55" creationId="{74CEAA40-67E1-4222-867E-BB8AA6A8B6B2}"/>
          </ac:spMkLst>
        </pc:spChg>
        <pc:grpChg chg="del">
          <ac:chgData name="Remi de Vogel" userId="5948360e-7b9c-4a22-9ada-df5e8b901c82" providerId="ADAL" clId="{848B40CD-DCFD-4256-872E-30365CE333A5}" dt="2022-05-25T13:41:24.291" v="385" actId="478"/>
          <ac:grpSpMkLst>
            <pc:docMk/>
            <pc:sldMk cId="2845286037" sldId="3401"/>
            <ac:grpSpMk id="33" creationId="{41BCC406-3052-4462-99FC-AB022B31DC8E}"/>
          </ac:grpSpMkLst>
        </pc:grpChg>
      </pc:sldChg>
      <pc:sldChg chg="addSp delSp modSp mod modClrScheme chgLayout">
        <pc:chgData name="Remi de Vogel" userId="5948360e-7b9c-4a22-9ada-df5e8b901c82" providerId="ADAL" clId="{848B40CD-DCFD-4256-872E-30365CE333A5}" dt="2022-05-25T13:47:49.306" v="592" actId="478"/>
        <pc:sldMkLst>
          <pc:docMk/>
          <pc:sldMk cId="44081473" sldId="3405"/>
        </pc:sldMkLst>
        <pc:spChg chg="mod ord">
          <ac:chgData name="Remi de Vogel" userId="5948360e-7b9c-4a22-9ada-df5e8b901c82" providerId="ADAL" clId="{848B40CD-DCFD-4256-872E-30365CE333A5}" dt="2022-05-25T13:47:45.729" v="590" actId="700"/>
          <ac:spMkLst>
            <pc:docMk/>
            <pc:sldMk cId="44081473" sldId="3405"/>
            <ac:spMk id="2" creationId="{00000000-0000-0000-0000-000000000000}"/>
          </ac:spMkLst>
        </pc:spChg>
        <pc:spChg chg="mod ord">
          <ac:chgData name="Remi de Vogel" userId="5948360e-7b9c-4a22-9ada-df5e8b901c82" providerId="ADAL" clId="{848B40CD-DCFD-4256-872E-30365CE333A5}" dt="2022-05-25T13:47:45.729" v="590" actId="700"/>
          <ac:spMkLst>
            <pc:docMk/>
            <pc:sldMk cId="44081473" sldId="3405"/>
            <ac:spMk id="5" creationId="{00000000-0000-0000-0000-000000000000}"/>
          </ac:spMkLst>
        </pc:spChg>
        <pc:spChg chg="mod ord">
          <ac:chgData name="Remi de Vogel" userId="5948360e-7b9c-4a22-9ada-df5e8b901c82" providerId="ADAL" clId="{848B40CD-DCFD-4256-872E-30365CE333A5}" dt="2022-05-25T13:47:45.729" v="590" actId="700"/>
          <ac:spMkLst>
            <pc:docMk/>
            <pc:sldMk cId="44081473" sldId="3405"/>
            <ac:spMk id="6" creationId="{A393782A-BED5-49E1-86B4-B2686393B22D}"/>
          </ac:spMkLst>
        </pc:spChg>
        <pc:spChg chg="add del mod ord">
          <ac:chgData name="Remi de Vogel" userId="5948360e-7b9c-4a22-9ada-df5e8b901c82" providerId="ADAL" clId="{848B40CD-DCFD-4256-872E-30365CE333A5}" dt="2022-05-25T13:47:41.425" v="589" actId="700"/>
          <ac:spMkLst>
            <pc:docMk/>
            <pc:sldMk cId="44081473" sldId="3405"/>
            <ac:spMk id="7" creationId="{1B349F82-8572-5BCF-BA2F-AF5AD4DD7756}"/>
          </ac:spMkLst>
        </pc:spChg>
        <pc:spChg chg="add del mod ord">
          <ac:chgData name="Remi de Vogel" userId="5948360e-7b9c-4a22-9ada-df5e8b901c82" providerId="ADAL" clId="{848B40CD-DCFD-4256-872E-30365CE333A5}" dt="2022-05-25T13:47:49.306" v="592" actId="478"/>
          <ac:spMkLst>
            <pc:docMk/>
            <pc:sldMk cId="44081473" sldId="3405"/>
            <ac:spMk id="8" creationId="{EA45D29A-9610-3F39-F4B1-7C14D5D3AAE3}"/>
          </ac:spMkLst>
        </pc:spChg>
        <pc:spChg chg="mod ord">
          <ac:chgData name="Remi de Vogel" userId="5948360e-7b9c-4a22-9ada-df5e8b901c82" providerId="ADAL" clId="{848B40CD-DCFD-4256-872E-30365CE333A5}" dt="2022-05-25T13:47:45.729" v="590" actId="700"/>
          <ac:spMkLst>
            <pc:docMk/>
            <pc:sldMk cId="44081473" sldId="3405"/>
            <ac:spMk id="10" creationId="{FDC33409-DEA1-473F-B791-4A439457448C}"/>
          </ac:spMkLst>
        </pc:spChg>
        <pc:spChg chg="mod ord">
          <ac:chgData name="Remi de Vogel" userId="5948360e-7b9c-4a22-9ada-df5e8b901c82" providerId="ADAL" clId="{848B40CD-DCFD-4256-872E-30365CE333A5}" dt="2022-05-25T13:47:45.729" v="590" actId="700"/>
          <ac:spMkLst>
            <pc:docMk/>
            <pc:sldMk cId="44081473" sldId="3405"/>
            <ac:spMk id="12" creationId="{AB9A12D0-0AF4-48F4-9EE0-89E5C8F5EC45}"/>
          </ac:spMkLst>
        </pc:spChg>
        <pc:spChg chg="mod ord">
          <ac:chgData name="Remi de Vogel" userId="5948360e-7b9c-4a22-9ada-df5e8b901c82" providerId="ADAL" clId="{848B40CD-DCFD-4256-872E-30365CE333A5}" dt="2022-05-25T13:47:45.729" v="590" actId="700"/>
          <ac:spMkLst>
            <pc:docMk/>
            <pc:sldMk cId="44081473" sldId="3405"/>
            <ac:spMk id="13" creationId="{B2EE38E6-55D5-4591-AE61-A06824010CEF}"/>
          </ac:spMkLst>
        </pc:spChg>
        <pc:spChg chg="del">
          <ac:chgData name="Remi de Vogel" userId="5948360e-7b9c-4a22-9ada-df5e8b901c82" providerId="ADAL" clId="{848B40CD-DCFD-4256-872E-30365CE333A5}" dt="2022-05-25T13:47:47.002" v="591" actId="478"/>
          <ac:spMkLst>
            <pc:docMk/>
            <pc:sldMk cId="44081473" sldId="3405"/>
            <ac:spMk id="107" creationId="{E882CA57-F72D-4799-9675-BC3691681108}"/>
          </ac:spMkLst>
        </pc:spChg>
      </pc:sldChg>
      <pc:sldChg chg="modSp mod">
        <pc:chgData name="Remi de Vogel" userId="5948360e-7b9c-4a22-9ada-df5e8b901c82" providerId="ADAL" clId="{848B40CD-DCFD-4256-872E-30365CE333A5}" dt="2022-05-25T13:33:57.541" v="158" actId="1076"/>
        <pc:sldMkLst>
          <pc:docMk/>
          <pc:sldMk cId="1818857520" sldId="2134805853"/>
        </pc:sldMkLst>
        <pc:spChg chg="mod">
          <ac:chgData name="Remi de Vogel" userId="5948360e-7b9c-4a22-9ada-df5e8b901c82" providerId="ADAL" clId="{848B40CD-DCFD-4256-872E-30365CE333A5}" dt="2022-05-25T13:33:57.541" v="158" actId="1076"/>
          <ac:spMkLst>
            <pc:docMk/>
            <pc:sldMk cId="1818857520" sldId="2134805853"/>
            <ac:spMk id="44" creationId="{45F500C3-B1F2-DA85-6E64-6544F462BEB6}"/>
          </ac:spMkLst>
        </pc:spChg>
      </pc:sldChg>
      <pc:sldChg chg="addSp delSp modSp mod modClrScheme chgLayout">
        <pc:chgData name="Remi de Vogel" userId="5948360e-7b9c-4a22-9ada-df5e8b901c82" providerId="ADAL" clId="{848B40CD-DCFD-4256-872E-30365CE333A5}" dt="2022-05-25T15:10:23.734" v="802" actId="478"/>
        <pc:sldMkLst>
          <pc:docMk/>
          <pc:sldMk cId="3577376723" sldId="2134805862"/>
        </pc:sldMkLst>
        <pc:spChg chg="mod ord">
          <ac:chgData name="Remi de Vogel" userId="5948360e-7b9c-4a22-9ada-df5e8b901c82" providerId="ADAL" clId="{848B40CD-DCFD-4256-872E-30365CE333A5}" dt="2022-05-25T13:39:49.019" v="330" actId="700"/>
          <ac:spMkLst>
            <pc:docMk/>
            <pc:sldMk cId="3577376723" sldId="2134805862"/>
            <ac:spMk id="2" creationId="{1093FEA8-3A10-45BD-8461-87666DAFC70A}"/>
          </ac:spMkLst>
        </pc:spChg>
        <pc:spChg chg="mod ord">
          <ac:chgData name="Remi de Vogel" userId="5948360e-7b9c-4a22-9ada-df5e8b901c82" providerId="ADAL" clId="{848B40CD-DCFD-4256-872E-30365CE333A5}" dt="2022-05-25T13:39:49.019" v="330" actId="700"/>
          <ac:spMkLst>
            <pc:docMk/>
            <pc:sldMk cId="3577376723" sldId="2134805862"/>
            <ac:spMk id="3" creationId="{1BB972D6-4D5E-441F-A524-A96F60A4E3F7}"/>
          </ac:spMkLst>
        </pc:spChg>
        <pc:spChg chg="mod ord">
          <ac:chgData name="Remi de Vogel" userId="5948360e-7b9c-4a22-9ada-df5e8b901c82" providerId="ADAL" clId="{848B40CD-DCFD-4256-872E-30365CE333A5}" dt="2022-05-25T13:39:49.019" v="330" actId="700"/>
          <ac:spMkLst>
            <pc:docMk/>
            <pc:sldMk cId="3577376723" sldId="2134805862"/>
            <ac:spMk id="4" creationId="{9615348A-E2DC-4AE9-828B-6E4997604EB5}"/>
          </ac:spMkLst>
        </pc:spChg>
        <pc:spChg chg="mod ord">
          <ac:chgData name="Remi de Vogel" userId="5948360e-7b9c-4a22-9ada-df5e8b901c82" providerId="ADAL" clId="{848B40CD-DCFD-4256-872E-30365CE333A5}" dt="2022-05-25T13:39:49.019" v="330" actId="700"/>
          <ac:spMkLst>
            <pc:docMk/>
            <pc:sldMk cId="3577376723" sldId="2134805862"/>
            <ac:spMk id="5" creationId="{0D53921B-D939-49EF-8E6E-42E47AD85014}"/>
          </ac:spMkLst>
        </pc:spChg>
        <pc:spChg chg="mod ord">
          <ac:chgData name="Remi de Vogel" userId="5948360e-7b9c-4a22-9ada-df5e8b901c82" providerId="ADAL" clId="{848B40CD-DCFD-4256-872E-30365CE333A5}" dt="2022-05-25T13:39:49.019" v="330" actId="700"/>
          <ac:spMkLst>
            <pc:docMk/>
            <pc:sldMk cId="3577376723" sldId="2134805862"/>
            <ac:spMk id="6" creationId="{9B7F82A5-DCE1-40EC-8CD0-20DC2912D3D6}"/>
          </ac:spMkLst>
        </pc:spChg>
        <pc:spChg chg="add del mod ord">
          <ac:chgData name="Remi de Vogel" userId="5948360e-7b9c-4a22-9ada-df5e8b901c82" providerId="ADAL" clId="{848B40CD-DCFD-4256-872E-30365CE333A5}" dt="2022-05-25T13:39:52.618" v="332" actId="478"/>
          <ac:spMkLst>
            <pc:docMk/>
            <pc:sldMk cId="3577376723" sldId="2134805862"/>
            <ac:spMk id="9" creationId="{A006C519-20A7-B2F7-2AE5-8049F8A066F2}"/>
          </ac:spMkLst>
        </pc:spChg>
        <pc:spChg chg="mod ord">
          <ac:chgData name="Remi de Vogel" userId="5948360e-7b9c-4a22-9ada-df5e8b901c82" providerId="ADAL" clId="{848B40CD-DCFD-4256-872E-30365CE333A5}" dt="2022-05-25T13:39:49.019" v="330" actId="700"/>
          <ac:spMkLst>
            <pc:docMk/>
            <pc:sldMk cId="3577376723" sldId="2134805862"/>
            <ac:spMk id="10" creationId="{D4D9B121-DE84-4B52-8807-636388DD552E}"/>
          </ac:spMkLst>
        </pc:spChg>
        <pc:spChg chg="del">
          <ac:chgData name="Remi de Vogel" userId="5948360e-7b9c-4a22-9ada-df5e8b901c82" providerId="ADAL" clId="{848B40CD-DCFD-4256-872E-30365CE333A5}" dt="2022-05-25T13:39:51.186" v="331" actId="478"/>
          <ac:spMkLst>
            <pc:docMk/>
            <pc:sldMk cId="3577376723" sldId="2134805862"/>
            <ac:spMk id="81" creationId="{ABE43BAF-199F-488A-97AF-34ADBAB9DD81}"/>
          </ac:spMkLst>
        </pc:spChg>
        <pc:spChg chg="del">
          <ac:chgData name="Remi de Vogel" userId="5948360e-7b9c-4a22-9ada-df5e8b901c82" providerId="ADAL" clId="{848B40CD-DCFD-4256-872E-30365CE333A5}" dt="2022-05-25T13:39:55.050" v="333" actId="478"/>
          <ac:spMkLst>
            <pc:docMk/>
            <pc:sldMk cId="3577376723" sldId="2134805862"/>
            <ac:spMk id="114" creationId="{A2006A3A-F341-442B-8631-7D01E033F1FE}"/>
          </ac:spMkLst>
        </pc:spChg>
        <pc:spChg chg="del">
          <ac:chgData name="Remi de Vogel" userId="5948360e-7b9c-4a22-9ada-df5e8b901c82" providerId="ADAL" clId="{848B40CD-DCFD-4256-872E-30365CE333A5}" dt="2022-05-25T15:10:23.734" v="802" actId="478"/>
          <ac:spMkLst>
            <pc:docMk/>
            <pc:sldMk cId="3577376723" sldId="2134805862"/>
            <ac:spMk id="115" creationId="{F1B211F8-0055-4782-81E7-E74A1BDDE595}"/>
          </ac:spMkLst>
        </pc:spChg>
      </pc:sldChg>
      <pc:sldChg chg="delSp mod">
        <pc:chgData name="Remi de Vogel" userId="5948360e-7b9c-4a22-9ada-df5e8b901c82" providerId="ADAL" clId="{848B40CD-DCFD-4256-872E-30365CE333A5}" dt="2022-05-25T13:31:33.704" v="82" actId="478"/>
        <pc:sldMkLst>
          <pc:docMk/>
          <pc:sldMk cId="4201410253" sldId="2134805877"/>
        </pc:sldMkLst>
        <pc:spChg chg="del">
          <ac:chgData name="Remi de Vogel" userId="5948360e-7b9c-4a22-9ada-df5e8b901c82" providerId="ADAL" clId="{848B40CD-DCFD-4256-872E-30365CE333A5}" dt="2022-05-25T13:31:33.704" v="82" actId="478"/>
          <ac:spMkLst>
            <pc:docMk/>
            <pc:sldMk cId="4201410253" sldId="2134805877"/>
            <ac:spMk id="28" creationId="{C16394CC-BE1B-4FD3-AF37-51170AE76D36}"/>
          </ac:spMkLst>
        </pc:spChg>
      </pc:sldChg>
      <pc:sldChg chg="delSp modSp mod modClrScheme chgLayout">
        <pc:chgData name="Remi de Vogel" userId="5948360e-7b9c-4a22-9ada-df5e8b901c82" providerId="ADAL" clId="{848B40CD-DCFD-4256-872E-30365CE333A5}" dt="2022-05-25T15:10:14.941" v="800" actId="478"/>
        <pc:sldMkLst>
          <pc:docMk/>
          <pc:sldMk cId="444192734" sldId="2134805894"/>
        </pc:sldMkLst>
        <pc:spChg chg="mod ord">
          <ac:chgData name="Remi de Vogel" userId="5948360e-7b9c-4a22-9ada-df5e8b901c82" providerId="ADAL" clId="{848B40CD-DCFD-4256-872E-30365CE333A5}" dt="2022-05-25T13:37:53.935" v="278" actId="700"/>
          <ac:spMkLst>
            <pc:docMk/>
            <pc:sldMk cId="444192734" sldId="2134805894"/>
            <ac:spMk id="2" creationId="{E9ABDF69-2666-443F-BCC2-AC1D7253913E}"/>
          </ac:spMkLst>
        </pc:spChg>
        <pc:spChg chg="mod ord">
          <ac:chgData name="Remi de Vogel" userId="5948360e-7b9c-4a22-9ada-df5e8b901c82" providerId="ADAL" clId="{848B40CD-DCFD-4256-872E-30365CE333A5}" dt="2022-05-25T13:37:53.935" v="278" actId="700"/>
          <ac:spMkLst>
            <pc:docMk/>
            <pc:sldMk cId="444192734" sldId="2134805894"/>
            <ac:spMk id="3" creationId="{B0BB672B-3D49-476A-8797-C47F9C9BDE9F}"/>
          </ac:spMkLst>
        </pc:spChg>
        <pc:spChg chg="mod ord">
          <ac:chgData name="Remi de Vogel" userId="5948360e-7b9c-4a22-9ada-df5e8b901c82" providerId="ADAL" clId="{848B40CD-DCFD-4256-872E-30365CE333A5}" dt="2022-05-25T13:37:53.935" v="278" actId="700"/>
          <ac:spMkLst>
            <pc:docMk/>
            <pc:sldMk cId="444192734" sldId="2134805894"/>
            <ac:spMk id="4" creationId="{441072EB-C7A7-48C4-BB9F-E29FE802F45C}"/>
          </ac:spMkLst>
        </pc:spChg>
        <pc:spChg chg="mod ord">
          <ac:chgData name="Remi de Vogel" userId="5948360e-7b9c-4a22-9ada-df5e8b901c82" providerId="ADAL" clId="{848B40CD-DCFD-4256-872E-30365CE333A5}" dt="2022-05-25T13:37:53.935" v="278" actId="700"/>
          <ac:spMkLst>
            <pc:docMk/>
            <pc:sldMk cId="444192734" sldId="2134805894"/>
            <ac:spMk id="5" creationId="{EBBCCEA8-F752-417B-82FF-AF8BAC8ACF18}"/>
          </ac:spMkLst>
        </pc:spChg>
        <pc:spChg chg="mod ord">
          <ac:chgData name="Remi de Vogel" userId="5948360e-7b9c-4a22-9ada-df5e8b901c82" providerId="ADAL" clId="{848B40CD-DCFD-4256-872E-30365CE333A5}" dt="2022-05-25T13:37:53.935" v="278" actId="700"/>
          <ac:spMkLst>
            <pc:docMk/>
            <pc:sldMk cId="444192734" sldId="2134805894"/>
            <ac:spMk id="7" creationId="{24DA6843-DA4B-4E81-845A-27932FEE9DFB}"/>
          </ac:spMkLst>
        </pc:spChg>
        <pc:spChg chg="mod ord">
          <ac:chgData name="Remi de Vogel" userId="5948360e-7b9c-4a22-9ada-df5e8b901c82" providerId="ADAL" clId="{848B40CD-DCFD-4256-872E-30365CE333A5}" dt="2022-05-25T13:37:53.935" v="278" actId="700"/>
          <ac:spMkLst>
            <pc:docMk/>
            <pc:sldMk cId="444192734" sldId="2134805894"/>
            <ac:spMk id="10" creationId="{BDAD356F-46F7-4180-96D1-0B31275F793B}"/>
          </ac:spMkLst>
        </pc:spChg>
        <pc:spChg chg="del">
          <ac:chgData name="Remi de Vogel" userId="5948360e-7b9c-4a22-9ada-df5e8b901c82" providerId="ADAL" clId="{848B40CD-DCFD-4256-872E-30365CE333A5}" dt="2022-05-25T13:38:07.476" v="284" actId="478"/>
          <ac:spMkLst>
            <pc:docMk/>
            <pc:sldMk cId="444192734" sldId="2134805894"/>
            <ac:spMk id="150" creationId="{452F2A77-FA53-42BF-8DA5-60A0ECA50EE6}"/>
          </ac:spMkLst>
        </pc:spChg>
        <pc:spChg chg="del">
          <ac:chgData name="Remi de Vogel" userId="5948360e-7b9c-4a22-9ada-df5e8b901c82" providerId="ADAL" clId="{848B40CD-DCFD-4256-872E-30365CE333A5}" dt="2022-05-25T15:10:14.941" v="800" actId="478"/>
          <ac:spMkLst>
            <pc:docMk/>
            <pc:sldMk cId="444192734" sldId="2134805894"/>
            <ac:spMk id="151" creationId="{E50EB8BA-00A7-4D79-A9D2-0904CEEBBCDE}"/>
          </ac:spMkLst>
        </pc:spChg>
        <pc:spChg chg="del">
          <ac:chgData name="Remi de Vogel" userId="5948360e-7b9c-4a22-9ada-df5e8b901c82" providerId="ADAL" clId="{848B40CD-DCFD-4256-872E-30365CE333A5}" dt="2022-05-25T13:37:55.159" v="279" actId="478"/>
          <ac:spMkLst>
            <pc:docMk/>
            <pc:sldMk cId="444192734" sldId="2134805894"/>
            <ac:spMk id="152" creationId="{47135127-79F6-40FF-A319-BEF061AE32A3}"/>
          </ac:spMkLst>
        </pc:spChg>
      </pc:sldChg>
      <pc:sldChg chg="addSp delSp modSp mod modClrScheme chgLayout">
        <pc:chgData name="Remi de Vogel" userId="5948360e-7b9c-4a22-9ada-df5e8b901c82" providerId="ADAL" clId="{848B40CD-DCFD-4256-872E-30365CE333A5}" dt="2022-05-25T13:43:37.161" v="438" actId="478"/>
        <pc:sldMkLst>
          <pc:docMk/>
          <pc:sldMk cId="2285178275" sldId="2134805896"/>
        </pc:sldMkLst>
        <pc:spChg chg="mod ord">
          <ac:chgData name="Remi de Vogel" userId="5948360e-7b9c-4a22-9ada-df5e8b901c82" providerId="ADAL" clId="{848B40CD-DCFD-4256-872E-30365CE333A5}" dt="2022-05-25T13:43:34.740" v="437" actId="700"/>
          <ac:spMkLst>
            <pc:docMk/>
            <pc:sldMk cId="2285178275" sldId="2134805896"/>
            <ac:spMk id="2" creationId="{A8FBD5DD-C2A9-488E-8B54-60A87A48F581}"/>
          </ac:spMkLst>
        </pc:spChg>
        <pc:spChg chg="add del mod ord">
          <ac:chgData name="Remi de Vogel" userId="5948360e-7b9c-4a22-9ada-df5e8b901c82" providerId="ADAL" clId="{848B40CD-DCFD-4256-872E-30365CE333A5}" dt="2022-05-25T13:41:49.681" v="389" actId="700"/>
          <ac:spMkLst>
            <pc:docMk/>
            <pc:sldMk cId="2285178275" sldId="2134805896"/>
            <ac:spMk id="3" creationId="{B9E8DAE7-CCCC-7463-7D02-930CB28BB31D}"/>
          </ac:spMkLst>
        </pc:spChg>
        <pc:spChg chg="mod ord">
          <ac:chgData name="Remi de Vogel" userId="5948360e-7b9c-4a22-9ada-df5e8b901c82" providerId="ADAL" clId="{848B40CD-DCFD-4256-872E-30365CE333A5}" dt="2022-05-25T13:43:34.740" v="437" actId="700"/>
          <ac:spMkLst>
            <pc:docMk/>
            <pc:sldMk cId="2285178275" sldId="2134805896"/>
            <ac:spMk id="4" creationId="{3C7FD0EF-42D1-483A-AFBA-B47FE8ACC164}"/>
          </ac:spMkLst>
        </pc:spChg>
        <pc:spChg chg="mod ord">
          <ac:chgData name="Remi de Vogel" userId="5948360e-7b9c-4a22-9ada-df5e8b901c82" providerId="ADAL" clId="{848B40CD-DCFD-4256-872E-30365CE333A5}" dt="2022-05-25T13:43:34.740" v="437" actId="700"/>
          <ac:spMkLst>
            <pc:docMk/>
            <pc:sldMk cId="2285178275" sldId="2134805896"/>
            <ac:spMk id="5" creationId="{E50FDC5E-1A14-468B-966C-69EC6276C662}"/>
          </ac:spMkLst>
        </pc:spChg>
        <pc:spChg chg="mod ord">
          <ac:chgData name="Remi de Vogel" userId="5948360e-7b9c-4a22-9ada-df5e8b901c82" providerId="ADAL" clId="{848B40CD-DCFD-4256-872E-30365CE333A5}" dt="2022-05-25T13:43:34.740" v="437" actId="700"/>
          <ac:spMkLst>
            <pc:docMk/>
            <pc:sldMk cId="2285178275" sldId="2134805896"/>
            <ac:spMk id="6" creationId="{EC6DF32E-EB27-45C5-9240-AF5E6B492651}"/>
          </ac:spMkLst>
        </pc:spChg>
        <pc:spChg chg="add del mod ord">
          <ac:chgData name="Remi de Vogel" userId="5948360e-7b9c-4a22-9ada-df5e8b901c82" providerId="ADAL" clId="{848B40CD-DCFD-4256-872E-30365CE333A5}" dt="2022-05-25T13:41:55.954" v="391" actId="700"/>
          <ac:spMkLst>
            <pc:docMk/>
            <pc:sldMk cId="2285178275" sldId="2134805896"/>
            <ac:spMk id="7" creationId="{51A20753-84A5-EF6B-11A3-169213219564}"/>
          </ac:spMkLst>
        </pc:spChg>
        <pc:spChg chg="add del mod">
          <ac:chgData name="Remi de Vogel" userId="5948360e-7b9c-4a22-9ada-df5e8b901c82" providerId="ADAL" clId="{848B40CD-DCFD-4256-872E-30365CE333A5}" dt="2022-05-25T13:42:18.054" v="412"/>
          <ac:spMkLst>
            <pc:docMk/>
            <pc:sldMk cId="2285178275" sldId="2134805896"/>
            <ac:spMk id="9" creationId="{E50B8820-5DCF-4340-2350-076B8E497881}"/>
          </ac:spMkLst>
        </pc:spChg>
        <pc:spChg chg="add del mod">
          <ac:chgData name="Remi de Vogel" userId="5948360e-7b9c-4a22-9ada-df5e8b901c82" providerId="ADAL" clId="{848B40CD-DCFD-4256-872E-30365CE333A5}" dt="2022-05-25T13:42:18.054" v="412"/>
          <ac:spMkLst>
            <pc:docMk/>
            <pc:sldMk cId="2285178275" sldId="2134805896"/>
            <ac:spMk id="10" creationId="{94910335-12A6-3394-07F2-B880B2E440A9}"/>
          </ac:spMkLst>
        </pc:spChg>
        <pc:spChg chg="add del mod">
          <ac:chgData name="Remi de Vogel" userId="5948360e-7b9c-4a22-9ada-df5e8b901c82" providerId="ADAL" clId="{848B40CD-DCFD-4256-872E-30365CE333A5}" dt="2022-05-25T13:42:18.054" v="412"/>
          <ac:spMkLst>
            <pc:docMk/>
            <pc:sldMk cId="2285178275" sldId="2134805896"/>
            <ac:spMk id="11" creationId="{0C8CEE24-DA1D-5743-0C53-9B3D7C483C51}"/>
          </ac:spMkLst>
        </pc:spChg>
        <pc:spChg chg="add del mod">
          <ac:chgData name="Remi de Vogel" userId="5948360e-7b9c-4a22-9ada-df5e8b901c82" providerId="ADAL" clId="{848B40CD-DCFD-4256-872E-30365CE333A5}" dt="2022-05-25T13:42:18.054" v="412"/>
          <ac:spMkLst>
            <pc:docMk/>
            <pc:sldMk cId="2285178275" sldId="2134805896"/>
            <ac:spMk id="12" creationId="{8C28F9BD-9222-B771-7C7C-FD23E18890BB}"/>
          </ac:spMkLst>
        </pc:spChg>
        <pc:spChg chg="add del mod">
          <ac:chgData name="Remi de Vogel" userId="5948360e-7b9c-4a22-9ada-df5e8b901c82" providerId="ADAL" clId="{848B40CD-DCFD-4256-872E-30365CE333A5}" dt="2022-05-25T13:42:18.054" v="412"/>
          <ac:spMkLst>
            <pc:docMk/>
            <pc:sldMk cId="2285178275" sldId="2134805896"/>
            <ac:spMk id="13" creationId="{B34F80E5-65DE-54FE-1DE8-1AD3305A4E92}"/>
          </ac:spMkLst>
        </pc:spChg>
        <pc:spChg chg="add del mod">
          <ac:chgData name="Remi de Vogel" userId="5948360e-7b9c-4a22-9ada-df5e8b901c82" providerId="ADAL" clId="{848B40CD-DCFD-4256-872E-30365CE333A5}" dt="2022-05-25T13:42:18.054" v="412"/>
          <ac:spMkLst>
            <pc:docMk/>
            <pc:sldMk cId="2285178275" sldId="2134805896"/>
            <ac:spMk id="14" creationId="{96CD1EF0-E5ED-F73C-9A35-4B6E4744899B}"/>
          </ac:spMkLst>
        </pc:spChg>
        <pc:spChg chg="add del mod">
          <ac:chgData name="Remi de Vogel" userId="5948360e-7b9c-4a22-9ada-df5e8b901c82" providerId="ADAL" clId="{848B40CD-DCFD-4256-872E-30365CE333A5}" dt="2022-05-25T13:42:18.205" v="413"/>
          <ac:spMkLst>
            <pc:docMk/>
            <pc:sldMk cId="2285178275" sldId="2134805896"/>
            <ac:spMk id="15" creationId="{5183471A-66B7-B93A-64D9-1A7E569FA774}"/>
          </ac:spMkLst>
        </pc:spChg>
        <pc:spChg chg="add del mod">
          <ac:chgData name="Remi de Vogel" userId="5948360e-7b9c-4a22-9ada-df5e8b901c82" providerId="ADAL" clId="{848B40CD-DCFD-4256-872E-30365CE333A5}" dt="2022-05-25T13:42:18.205" v="413"/>
          <ac:spMkLst>
            <pc:docMk/>
            <pc:sldMk cId="2285178275" sldId="2134805896"/>
            <ac:spMk id="16" creationId="{18B9E022-763D-A9C8-568F-4D922822A54F}"/>
          </ac:spMkLst>
        </pc:spChg>
        <pc:spChg chg="add del mod">
          <ac:chgData name="Remi de Vogel" userId="5948360e-7b9c-4a22-9ada-df5e8b901c82" providerId="ADAL" clId="{848B40CD-DCFD-4256-872E-30365CE333A5}" dt="2022-05-25T13:42:18.205" v="413"/>
          <ac:spMkLst>
            <pc:docMk/>
            <pc:sldMk cId="2285178275" sldId="2134805896"/>
            <ac:spMk id="17" creationId="{FAF04B67-B3D5-6216-5A2E-E9E5A62AF8A7}"/>
          </ac:spMkLst>
        </pc:spChg>
        <pc:spChg chg="add del mod">
          <ac:chgData name="Remi de Vogel" userId="5948360e-7b9c-4a22-9ada-df5e8b901c82" providerId="ADAL" clId="{848B40CD-DCFD-4256-872E-30365CE333A5}" dt="2022-05-25T13:42:18.205" v="413"/>
          <ac:spMkLst>
            <pc:docMk/>
            <pc:sldMk cId="2285178275" sldId="2134805896"/>
            <ac:spMk id="18" creationId="{7F4C4969-7775-30DA-74CC-FB9BC34A58F1}"/>
          </ac:spMkLst>
        </pc:spChg>
        <pc:spChg chg="add del mod">
          <ac:chgData name="Remi de Vogel" userId="5948360e-7b9c-4a22-9ada-df5e8b901c82" providerId="ADAL" clId="{848B40CD-DCFD-4256-872E-30365CE333A5}" dt="2022-05-25T13:42:18.205" v="413"/>
          <ac:spMkLst>
            <pc:docMk/>
            <pc:sldMk cId="2285178275" sldId="2134805896"/>
            <ac:spMk id="19" creationId="{BC6831A3-49EB-48F6-69F6-B8139D57EAB4}"/>
          </ac:spMkLst>
        </pc:spChg>
        <pc:spChg chg="add del mod">
          <ac:chgData name="Remi de Vogel" userId="5948360e-7b9c-4a22-9ada-df5e8b901c82" providerId="ADAL" clId="{848B40CD-DCFD-4256-872E-30365CE333A5}" dt="2022-05-25T13:42:18.205" v="413"/>
          <ac:spMkLst>
            <pc:docMk/>
            <pc:sldMk cId="2285178275" sldId="2134805896"/>
            <ac:spMk id="20" creationId="{9C94E756-A44E-C13D-21CA-7E663FBFAE22}"/>
          </ac:spMkLst>
        </pc:spChg>
        <pc:spChg chg="mod ord">
          <ac:chgData name="Remi de Vogel" userId="5948360e-7b9c-4a22-9ada-df5e8b901c82" providerId="ADAL" clId="{848B40CD-DCFD-4256-872E-30365CE333A5}" dt="2022-05-25T13:43:34.740" v="437" actId="700"/>
          <ac:spMkLst>
            <pc:docMk/>
            <pc:sldMk cId="2285178275" sldId="2134805896"/>
            <ac:spMk id="21" creationId="{789E8E64-E01F-40F3-9010-32E0F3862328}"/>
          </ac:spMkLst>
        </pc:spChg>
        <pc:spChg chg="mod ord">
          <ac:chgData name="Remi de Vogel" userId="5948360e-7b9c-4a22-9ada-df5e8b901c82" providerId="ADAL" clId="{848B40CD-DCFD-4256-872E-30365CE333A5}" dt="2022-05-25T13:43:34.740" v="437" actId="700"/>
          <ac:spMkLst>
            <pc:docMk/>
            <pc:sldMk cId="2285178275" sldId="2134805896"/>
            <ac:spMk id="22" creationId="{588F544F-5E77-4232-8B5C-32E5B4CFCEBB}"/>
          </ac:spMkLst>
        </pc:spChg>
        <pc:spChg chg="add del mod">
          <ac:chgData name="Remi de Vogel" userId="5948360e-7b9c-4a22-9ada-df5e8b901c82" providerId="ADAL" clId="{848B40CD-DCFD-4256-872E-30365CE333A5}" dt="2022-05-25T13:42:18.357" v="414"/>
          <ac:spMkLst>
            <pc:docMk/>
            <pc:sldMk cId="2285178275" sldId="2134805896"/>
            <ac:spMk id="23" creationId="{7D90D527-1B59-92B7-17A7-B26A89C2E894}"/>
          </ac:spMkLst>
        </pc:spChg>
        <pc:spChg chg="add del mod">
          <ac:chgData name="Remi de Vogel" userId="5948360e-7b9c-4a22-9ada-df5e8b901c82" providerId="ADAL" clId="{848B40CD-DCFD-4256-872E-30365CE333A5}" dt="2022-05-25T13:42:18.357" v="414"/>
          <ac:spMkLst>
            <pc:docMk/>
            <pc:sldMk cId="2285178275" sldId="2134805896"/>
            <ac:spMk id="24" creationId="{AE79656B-E7E1-2C87-CED1-354EBCD7755B}"/>
          </ac:spMkLst>
        </pc:spChg>
        <pc:spChg chg="add del mod">
          <ac:chgData name="Remi de Vogel" userId="5948360e-7b9c-4a22-9ada-df5e8b901c82" providerId="ADAL" clId="{848B40CD-DCFD-4256-872E-30365CE333A5}" dt="2022-05-25T13:42:18.357" v="414"/>
          <ac:spMkLst>
            <pc:docMk/>
            <pc:sldMk cId="2285178275" sldId="2134805896"/>
            <ac:spMk id="25" creationId="{730F62C5-C069-3725-F5EF-DB21C2351FB7}"/>
          </ac:spMkLst>
        </pc:spChg>
        <pc:spChg chg="add del mod">
          <ac:chgData name="Remi de Vogel" userId="5948360e-7b9c-4a22-9ada-df5e8b901c82" providerId="ADAL" clId="{848B40CD-DCFD-4256-872E-30365CE333A5}" dt="2022-05-25T13:42:18.357" v="414"/>
          <ac:spMkLst>
            <pc:docMk/>
            <pc:sldMk cId="2285178275" sldId="2134805896"/>
            <ac:spMk id="26" creationId="{8202B276-AA36-1BFF-161C-1CC57BF828AA}"/>
          </ac:spMkLst>
        </pc:spChg>
        <pc:spChg chg="add del mod">
          <ac:chgData name="Remi de Vogel" userId="5948360e-7b9c-4a22-9ada-df5e8b901c82" providerId="ADAL" clId="{848B40CD-DCFD-4256-872E-30365CE333A5}" dt="2022-05-25T13:42:18.357" v="414"/>
          <ac:spMkLst>
            <pc:docMk/>
            <pc:sldMk cId="2285178275" sldId="2134805896"/>
            <ac:spMk id="27" creationId="{267C8F54-F048-52CB-94E7-8D3AD401C607}"/>
          </ac:spMkLst>
        </pc:spChg>
        <pc:spChg chg="add del mod">
          <ac:chgData name="Remi de Vogel" userId="5948360e-7b9c-4a22-9ada-df5e8b901c82" providerId="ADAL" clId="{848B40CD-DCFD-4256-872E-30365CE333A5}" dt="2022-05-25T13:42:18.357" v="414"/>
          <ac:spMkLst>
            <pc:docMk/>
            <pc:sldMk cId="2285178275" sldId="2134805896"/>
            <ac:spMk id="28" creationId="{1CF04E95-3559-9D81-277B-A670A7B848B4}"/>
          </ac:spMkLst>
        </pc:spChg>
        <pc:spChg chg="add del mod ord">
          <ac:chgData name="Remi de Vogel" userId="5948360e-7b9c-4a22-9ada-df5e8b901c82" providerId="ADAL" clId="{848B40CD-DCFD-4256-872E-30365CE333A5}" dt="2022-05-25T13:42:27.766" v="418" actId="700"/>
          <ac:spMkLst>
            <pc:docMk/>
            <pc:sldMk cId="2285178275" sldId="2134805896"/>
            <ac:spMk id="29" creationId="{5074E7A0-FFFC-6AA2-1839-071DE1804B06}"/>
          </ac:spMkLst>
        </pc:spChg>
        <pc:spChg chg="del">
          <ac:chgData name="Remi de Vogel" userId="5948360e-7b9c-4a22-9ada-df5e8b901c82" providerId="ADAL" clId="{848B40CD-DCFD-4256-872E-30365CE333A5}" dt="2022-05-25T13:43:37.161" v="438" actId="478"/>
          <ac:spMkLst>
            <pc:docMk/>
            <pc:sldMk cId="2285178275" sldId="2134805896"/>
            <ac:spMk id="190" creationId="{A753A92B-2A4B-432F-ADE1-98C0EB89388B}"/>
          </ac:spMkLst>
        </pc:spChg>
      </pc:sldChg>
      <pc:sldChg chg="addSp delSp modSp">
        <pc:chgData name="Remi de Vogel" userId="5948360e-7b9c-4a22-9ada-df5e8b901c82" providerId="ADAL" clId="{848B40CD-DCFD-4256-872E-30365CE333A5}" dt="2022-05-25T13:30:45.864" v="71"/>
        <pc:sldMkLst>
          <pc:docMk/>
          <pc:sldMk cId="2944830276" sldId="2134805942"/>
        </pc:sldMkLst>
        <pc:spChg chg="mod">
          <ac:chgData name="Remi de Vogel" userId="5948360e-7b9c-4a22-9ada-df5e8b901c82" providerId="ADAL" clId="{848B40CD-DCFD-4256-872E-30365CE333A5}" dt="2022-05-25T13:30:45.864" v="71"/>
          <ac:spMkLst>
            <pc:docMk/>
            <pc:sldMk cId="2944830276" sldId="2134805942"/>
            <ac:spMk id="2" creationId="{9E0AF99F-FC40-4664-A87A-BE07315CFA76}"/>
          </ac:spMkLst>
        </pc:spChg>
        <pc:spChg chg="mod">
          <ac:chgData name="Remi de Vogel" userId="5948360e-7b9c-4a22-9ada-df5e8b901c82" providerId="ADAL" clId="{848B40CD-DCFD-4256-872E-30365CE333A5}" dt="2022-05-25T13:30:45.864" v="71"/>
          <ac:spMkLst>
            <pc:docMk/>
            <pc:sldMk cId="2944830276" sldId="2134805942"/>
            <ac:spMk id="3" creationId="{F1E4D74F-8070-4B86-ACA7-3FDD48FE7ACA}"/>
          </ac:spMkLst>
        </pc:spChg>
        <pc:spChg chg="mod">
          <ac:chgData name="Remi de Vogel" userId="5948360e-7b9c-4a22-9ada-df5e8b901c82" providerId="ADAL" clId="{848B40CD-DCFD-4256-872E-30365CE333A5}" dt="2022-05-25T13:30:45.864" v="71"/>
          <ac:spMkLst>
            <pc:docMk/>
            <pc:sldMk cId="2944830276" sldId="2134805942"/>
            <ac:spMk id="4" creationId="{3DD13508-BA17-42AE-85E9-D3D11048181E}"/>
          </ac:spMkLst>
        </pc:spChg>
        <pc:spChg chg="add del mod">
          <ac:chgData name="Remi de Vogel" userId="5948360e-7b9c-4a22-9ada-df5e8b901c82" providerId="ADAL" clId="{848B40CD-DCFD-4256-872E-30365CE333A5}" dt="2022-05-25T13:30:45.864" v="71"/>
          <ac:spMkLst>
            <pc:docMk/>
            <pc:sldMk cId="2944830276" sldId="2134805942"/>
            <ac:spMk id="6" creationId="{EF608B8F-E545-79F5-ABFE-62EFA0DDCC03}"/>
          </ac:spMkLst>
        </pc:spChg>
        <pc:spChg chg="add del mod">
          <ac:chgData name="Remi de Vogel" userId="5948360e-7b9c-4a22-9ada-df5e8b901c82" providerId="ADAL" clId="{848B40CD-DCFD-4256-872E-30365CE333A5}" dt="2022-05-25T13:30:45.864" v="71"/>
          <ac:spMkLst>
            <pc:docMk/>
            <pc:sldMk cId="2944830276" sldId="2134805942"/>
            <ac:spMk id="7" creationId="{568E4E0B-D21D-F59E-F038-8DBB9A1FC859}"/>
          </ac:spMkLst>
        </pc:spChg>
        <pc:spChg chg="add del mod">
          <ac:chgData name="Remi de Vogel" userId="5948360e-7b9c-4a22-9ada-df5e8b901c82" providerId="ADAL" clId="{848B40CD-DCFD-4256-872E-30365CE333A5}" dt="2022-05-25T13:30:45.864" v="71"/>
          <ac:spMkLst>
            <pc:docMk/>
            <pc:sldMk cId="2944830276" sldId="2134805942"/>
            <ac:spMk id="8" creationId="{1A030451-F1A7-D4EC-F402-A37F9FBF4BC4}"/>
          </ac:spMkLst>
        </pc:spChg>
        <pc:spChg chg="mod">
          <ac:chgData name="Remi de Vogel" userId="5948360e-7b9c-4a22-9ada-df5e8b901c82" providerId="ADAL" clId="{848B40CD-DCFD-4256-872E-30365CE333A5}" dt="2022-05-25T13:30:45.864" v="71"/>
          <ac:spMkLst>
            <pc:docMk/>
            <pc:sldMk cId="2944830276" sldId="2134805942"/>
            <ac:spMk id="9" creationId="{C8E5F4B0-C29B-45B4-A25C-136AA002AF9C}"/>
          </ac:spMkLst>
        </pc:spChg>
        <pc:spChg chg="mod">
          <ac:chgData name="Remi de Vogel" userId="5948360e-7b9c-4a22-9ada-df5e8b901c82" providerId="ADAL" clId="{848B40CD-DCFD-4256-872E-30365CE333A5}" dt="2022-05-25T13:30:45.864" v="71"/>
          <ac:spMkLst>
            <pc:docMk/>
            <pc:sldMk cId="2944830276" sldId="2134805942"/>
            <ac:spMk id="10" creationId="{BC7D3875-715F-4C33-BC3E-D8A70B129C4E}"/>
          </ac:spMkLst>
        </pc:spChg>
        <pc:spChg chg="mod">
          <ac:chgData name="Remi de Vogel" userId="5948360e-7b9c-4a22-9ada-df5e8b901c82" providerId="ADAL" clId="{848B40CD-DCFD-4256-872E-30365CE333A5}" dt="2022-05-25T13:30:45.864" v="71"/>
          <ac:spMkLst>
            <pc:docMk/>
            <pc:sldMk cId="2944830276" sldId="2134805942"/>
            <ac:spMk id="11" creationId="{47529DC7-BC0E-459B-9A4E-935DD655290E}"/>
          </ac:spMkLst>
        </pc:spChg>
        <pc:spChg chg="add del mod">
          <ac:chgData name="Remi de Vogel" userId="5948360e-7b9c-4a22-9ada-df5e8b901c82" providerId="ADAL" clId="{848B40CD-DCFD-4256-872E-30365CE333A5}" dt="2022-05-25T13:30:45.864" v="71"/>
          <ac:spMkLst>
            <pc:docMk/>
            <pc:sldMk cId="2944830276" sldId="2134805942"/>
            <ac:spMk id="12" creationId="{F142476E-3869-BF9F-DA43-13048518496E}"/>
          </ac:spMkLst>
        </pc:spChg>
        <pc:spChg chg="add del mod">
          <ac:chgData name="Remi de Vogel" userId="5948360e-7b9c-4a22-9ada-df5e8b901c82" providerId="ADAL" clId="{848B40CD-DCFD-4256-872E-30365CE333A5}" dt="2022-05-25T13:30:45.864" v="71"/>
          <ac:spMkLst>
            <pc:docMk/>
            <pc:sldMk cId="2944830276" sldId="2134805942"/>
            <ac:spMk id="13" creationId="{526FC7E3-A807-E0EC-A1F4-65776C7992EE}"/>
          </ac:spMkLst>
        </pc:spChg>
        <pc:spChg chg="add del mod">
          <ac:chgData name="Remi de Vogel" userId="5948360e-7b9c-4a22-9ada-df5e8b901c82" providerId="ADAL" clId="{848B40CD-DCFD-4256-872E-30365CE333A5}" dt="2022-05-25T13:30:45.864" v="71"/>
          <ac:spMkLst>
            <pc:docMk/>
            <pc:sldMk cId="2944830276" sldId="2134805942"/>
            <ac:spMk id="14" creationId="{4797BA7B-8E93-0149-E597-486563161A5E}"/>
          </ac:spMkLst>
        </pc:spChg>
      </pc:sldChg>
      <pc:sldChg chg="addSp delSp modSp mod modClrScheme chgLayout">
        <pc:chgData name="Remi de Vogel" userId="5948360e-7b9c-4a22-9ada-df5e8b901c82" providerId="ADAL" clId="{848B40CD-DCFD-4256-872E-30365CE333A5}" dt="2022-05-25T13:35:51.236" v="214" actId="478"/>
        <pc:sldMkLst>
          <pc:docMk/>
          <pc:sldMk cId="1937686259" sldId="2134805957"/>
        </pc:sldMkLst>
        <pc:spChg chg="mod ord">
          <ac:chgData name="Remi de Vogel" userId="5948360e-7b9c-4a22-9ada-df5e8b901c82" providerId="ADAL" clId="{848B40CD-DCFD-4256-872E-30365CE333A5}" dt="2022-05-25T13:35:47.262" v="211" actId="700"/>
          <ac:spMkLst>
            <pc:docMk/>
            <pc:sldMk cId="1937686259" sldId="2134805957"/>
            <ac:spMk id="2" creationId="{16D4640C-5619-4F7C-AC3C-BD0612FDA27C}"/>
          </ac:spMkLst>
        </pc:spChg>
        <pc:spChg chg="mod ord">
          <ac:chgData name="Remi de Vogel" userId="5948360e-7b9c-4a22-9ada-df5e8b901c82" providerId="ADAL" clId="{848B40CD-DCFD-4256-872E-30365CE333A5}" dt="2022-05-25T13:35:47.262" v="211" actId="700"/>
          <ac:spMkLst>
            <pc:docMk/>
            <pc:sldMk cId="1937686259" sldId="2134805957"/>
            <ac:spMk id="3" creationId="{CCBDD25A-25C2-401E-8168-C2E0DF3D4447}"/>
          </ac:spMkLst>
        </pc:spChg>
        <pc:spChg chg="mod ord">
          <ac:chgData name="Remi de Vogel" userId="5948360e-7b9c-4a22-9ada-df5e8b901c82" providerId="ADAL" clId="{848B40CD-DCFD-4256-872E-30365CE333A5}" dt="2022-05-25T13:35:47.262" v="211" actId="700"/>
          <ac:spMkLst>
            <pc:docMk/>
            <pc:sldMk cId="1937686259" sldId="2134805957"/>
            <ac:spMk id="4" creationId="{6E29E15E-47C3-41CF-BC48-65A8E1E946EE}"/>
          </ac:spMkLst>
        </pc:spChg>
        <pc:spChg chg="add del mod ord">
          <ac:chgData name="Remi de Vogel" userId="5948360e-7b9c-4a22-9ada-df5e8b901c82" providerId="ADAL" clId="{848B40CD-DCFD-4256-872E-30365CE333A5}" dt="2022-05-25T13:35:51.236" v="214" actId="478"/>
          <ac:spMkLst>
            <pc:docMk/>
            <pc:sldMk cId="1937686259" sldId="2134805957"/>
            <ac:spMk id="5" creationId="{0F901B0B-4D51-EB5E-80E5-CB9EB5E6FC3A}"/>
          </ac:spMkLst>
        </pc:spChg>
        <pc:spChg chg="mod ord">
          <ac:chgData name="Remi de Vogel" userId="5948360e-7b9c-4a22-9ada-df5e8b901c82" providerId="ADAL" clId="{848B40CD-DCFD-4256-872E-30365CE333A5}" dt="2022-05-25T13:35:47.262" v="211" actId="700"/>
          <ac:spMkLst>
            <pc:docMk/>
            <pc:sldMk cId="1937686259" sldId="2134805957"/>
            <ac:spMk id="9" creationId="{21D14E08-D661-4685-8CBA-D1E141AE143A}"/>
          </ac:spMkLst>
        </pc:spChg>
        <pc:spChg chg="mod ord">
          <ac:chgData name="Remi de Vogel" userId="5948360e-7b9c-4a22-9ada-df5e8b901c82" providerId="ADAL" clId="{848B40CD-DCFD-4256-872E-30365CE333A5}" dt="2022-05-25T13:35:47.262" v="211" actId="700"/>
          <ac:spMkLst>
            <pc:docMk/>
            <pc:sldMk cId="1937686259" sldId="2134805957"/>
            <ac:spMk id="10" creationId="{C56630E2-E620-4340-8768-35FF8244788B}"/>
          </ac:spMkLst>
        </pc:spChg>
        <pc:spChg chg="mod ord">
          <ac:chgData name="Remi de Vogel" userId="5948360e-7b9c-4a22-9ada-df5e8b901c82" providerId="ADAL" clId="{848B40CD-DCFD-4256-872E-30365CE333A5}" dt="2022-05-25T13:35:47.262" v="211" actId="700"/>
          <ac:spMkLst>
            <pc:docMk/>
            <pc:sldMk cId="1937686259" sldId="2134805957"/>
            <ac:spMk id="11" creationId="{3513D4E9-4CB4-423F-89AD-4FE54B95B047}"/>
          </ac:spMkLst>
        </pc:spChg>
        <pc:spChg chg="del mod">
          <ac:chgData name="Remi de Vogel" userId="5948360e-7b9c-4a22-9ada-df5e8b901c82" providerId="ADAL" clId="{848B40CD-DCFD-4256-872E-30365CE333A5}" dt="2022-05-25T13:35:49.376" v="213" actId="478"/>
          <ac:spMkLst>
            <pc:docMk/>
            <pc:sldMk cId="1937686259" sldId="2134805957"/>
            <ac:spMk id="34" creationId="{30C5B468-EB3C-4F19-B5DB-C570337E4200}"/>
          </ac:spMkLst>
        </pc:spChg>
      </pc:sldChg>
      <pc:sldChg chg="addSp delSp mod">
        <pc:chgData name="Remi de Vogel" userId="5948360e-7b9c-4a22-9ada-df5e8b901c82" providerId="ADAL" clId="{848B40CD-DCFD-4256-872E-30365CE333A5}" dt="2022-05-25T13:31:12.107" v="76" actId="478"/>
        <pc:sldMkLst>
          <pc:docMk/>
          <pc:sldMk cId="3065352262" sldId="2134805977"/>
        </pc:sldMkLst>
        <pc:spChg chg="add del">
          <ac:chgData name="Remi de Vogel" userId="5948360e-7b9c-4a22-9ada-df5e8b901c82" providerId="ADAL" clId="{848B40CD-DCFD-4256-872E-30365CE333A5}" dt="2022-05-25T13:31:03.061" v="73" actId="478"/>
          <ac:spMkLst>
            <pc:docMk/>
            <pc:sldMk cId="3065352262" sldId="2134805977"/>
            <ac:spMk id="4" creationId="{6DA8C458-0A37-4B30-A597-F4C650064678}"/>
          </ac:spMkLst>
        </pc:spChg>
        <pc:spChg chg="add del">
          <ac:chgData name="Remi de Vogel" userId="5948360e-7b9c-4a22-9ada-df5e8b901c82" providerId="ADAL" clId="{848B40CD-DCFD-4256-872E-30365CE333A5}" dt="2022-05-25T13:31:12.107" v="76" actId="478"/>
          <ac:spMkLst>
            <pc:docMk/>
            <pc:sldMk cId="3065352262" sldId="2134805977"/>
            <ac:spMk id="20" creationId="{94280424-2715-4212-9EA6-6B9DA3DC0CD7}"/>
          </ac:spMkLst>
        </pc:spChg>
      </pc:sldChg>
      <pc:sldChg chg="modSp mod">
        <pc:chgData name="Remi de Vogel" userId="5948360e-7b9c-4a22-9ada-df5e8b901c82" providerId="ADAL" clId="{848B40CD-DCFD-4256-872E-30365CE333A5}" dt="2022-05-25T13:41:42.605" v="387" actId="1076"/>
        <pc:sldMkLst>
          <pc:docMk/>
          <pc:sldMk cId="1089137052" sldId="2134805992"/>
        </pc:sldMkLst>
        <pc:spChg chg="mod">
          <ac:chgData name="Remi de Vogel" userId="5948360e-7b9c-4a22-9ada-df5e8b901c82" providerId="ADAL" clId="{848B40CD-DCFD-4256-872E-30365CE333A5}" dt="2022-05-25T13:41:42.605" v="387" actId="1076"/>
          <ac:spMkLst>
            <pc:docMk/>
            <pc:sldMk cId="1089137052" sldId="2134805992"/>
            <ac:spMk id="131" creationId="{F054B707-92D3-46A7-93CB-9158B222C654}"/>
          </ac:spMkLst>
        </pc:spChg>
      </pc:sldChg>
      <pc:sldChg chg="addSp delSp modSp mod modClrScheme chgLayout">
        <pc:chgData name="Remi de Vogel" userId="5948360e-7b9c-4a22-9ada-df5e8b901c82" providerId="ADAL" clId="{848B40CD-DCFD-4256-872E-30365CE333A5}" dt="2022-05-25T13:34:56.066" v="178" actId="478"/>
        <pc:sldMkLst>
          <pc:docMk/>
          <pc:sldMk cId="854196021" sldId="2145705718"/>
        </pc:sldMkLst>
        <pc:spChg chg="mod ord">
          <ac:chgData name="Remi de Vogel" userId="5948360e-7b9c-4a22-9ada-df5e8b901c82" providerId="ADAL" clId="{848B40CD-DCFD-4256-872E-30365CE333A5}" dt="2022-05-25T13:34:53.092" v="177"/>
          <ac:spMkLst>
            <pc:docMk/>
            <pc:sldMk cId="854196021" sldId="2145705718"/>
            <ac:spMk id="2" creationId="{8FD9FE09-0C8E-4A0D-A162-8F3D3E1C2787}"/>
          </ac:spMkLst>
        </pc:spChg>
        <pc:spChg chg="mod ord">
          <ac:chgData name="Remi de Vogel" userId="5948360e-7b9c-4a22-9ada-df5e8b901c82" providerId="ADAL" clId="{848B40CD-DCFD-4256-872E-30365CE333A5}" dt="2022-05-25T13:34:53.092" v="177"/>
          <ac:spMkLst>
            <pc:docMk/>
            <pc:sldMk cId="854196021" sldId="2145705718"/>
            <ac:spMk id="3" creationId="{47EC9DA9-0CFD-42CB-A54E-1E3658E50777}"/>
          </ac:spMkLst>
        </pc:spChg>
        <pc:spChg chg="mod ord">
          <ac:chgData name="Remi de Vogel" userId="5948360e-7b9c-4a22-9ada-df5e8b901c82" providerId="ADAL" clId="{848B40CD-DCFD-4256-872E-30365CE333A5}" dt="2022-05-25T13:34:53.092" v="177"/>
          <ac:spMkLst>
            <pc:docMk/>
            <pc:sldMk cId="854196021" sldId="2145705718"/>
            <ac:spMk id="4" creationId="{F1D8FD54-63F2-4A5E-845C-7940F7CB290D}"/>
          </ac:spMkLst>
        </pc:spChg>
        <pc:spChg chg="mod ord">
          <ac:chgData name="Remi de Vogel" userId="5948360e-7b9c-4a22-9ada-df5e8b901c82" providerId="ADAL" clId="{848B40CD-DCFD-4256-872E-30365CE333A5}" dt="2022-05-25T13:34:53.092" v="177"/>
          <ac:spMkLst>
            <pc:docMk/>
            <pc:sldMk cId="854196021" sldId="2145705718"/>
            <ac:spMk id="5" creationId="{B5796828-1FC7-40D1-9BEF-0D07ED942BCF}"/>
          </ac:spMkLst>
        </pc:spChg>
        <pc:spChg chg="mod ord">
          <ac:chgData name="Remi de Vogel" userId="5948360e-7b9c-4a22-9ada-df5e8b901c82" providerId="ADAL" clId="{848B40CD-DCFD-4256-872E-30365CE333A5}" dt="2022-05-25T13:34:53.092" v="177"/>
          <ac:spMkLst>
            <pc:docMk/>
            <pc:sldMk cId="854196021" sldId="2145705718"/>
            <ac:spMk id="9" creationId="{6975F3B8-732C-4EAD-8DB6-15FC536059B2}"/>
          </ac:spMkLst>
        </pc:spChg>
        <pc:spChg chg="add del mod ord">
          <ac:chgData name="Remi de Vogel" userId="5948360e-7b9c-4a22-9ada-df5e8b901c82" providerId="ADAL" clId="{848B40CD-DCFD-4256-872E-30365CE333A5}" dt="2022-05-25T13:34:53.092" v="177"/>
          <ac:spMkLst>
            <pc:docMk/>
            <pc:sldMk cId="854196021" sldId="2145705718"/>
            <ac:spMk id="11" creationId="{6CE7DE9C-8AA8-7798-5432-105A2685F1F1}"/>
          </ac:spMkLst>
        </pc:spChg>
        <pc:spChg chg="add del mod">
          <ac:chgData name="Remi de Vogel" userId="5948360e-7b9c-4a22-9ada-df5e8b901c82" providerId="ADAL" clId="{848B40CD-DCFD-4256-872E-30365CE333A5}" dt="2022-05-25T13:34:53.092" v="177"/>
          <ac:spMkLst>
            <pc:docMk/>
            <pc:sldMk cId="854196021" sldId="2145705718"/>
            <ac:spMk id="12" creationId="{5833FF8D-39BA-CAFB-2608-910613DBFE90}"/>
          </ac:spMkLst>
        </pc:spChg>
        <pc:spChg chg="add del mod">
          <ac:chgData name="Remi de Vogel" userId="5948360e-7b9c-4a22-9ada-df5e8b901c82" providerId="ADAL" clId="{848B40CD-DCFD-4256-872E-30365CE333A5}" dt="2022-05-25T13:34:53.092" v="177"/>
          <ac:spMkLst>
            <pc:docMk/>
            <pc:sldMk cId="854196021" sldId="2145705718"/>
            <ac:spMk id="13" creationId="{0A79130C-A71A-A119-98D5-DF100509526B}"/>
          </ac:spMkLst>
        </pc:spChg>
        <pc:spChg chg="add del mod">
          <ac:chgData name="Remi de Vogel" userId="5948360e-7b9c-4a22-9ada-df5e8b901c82" providerId="ADAL" clId="{848B40CD-DCFD-4256-872E-30365CE333A5}" dt="2022-05-25T13:34:53.092" v="177"/>
          <ac:spMkLst>
            <pc:docMk/>
            <pc:sldMk cId="854196021" sldId="2145705718"/>
            <ac:spMk id="15" creationId="{BD4E259F-C0F1-CD07-57DD-69662B768B73}"/>
          </ac:spMkLst>
        </pc:spChg>
        <pc:spChg chg="add del mod">
          <ac:chgData name="Remi de Vogel" userId="5948360e-7b9c-4a22-9ada-df5e8b901c82" providerId="ADAL" clId="{848B40CD-DCFD-4256-872E-30365CE333A5}" dt="2022-05-25T13:34:53.092" v="177"/>
          <ac:spMkLst>
            <pc:docMk/>
            <pc:sldMk cId="854196021" sldId="2145705718"/>
            <ac:spMk id="16" creationId="{BC0EB7B4-51BA-5E34-A347-E9FCD7F22096}"/>
          </ac:spMkLst>
        </pc:spChg>
        <pc:spChg chg="add del mod">
          <ac:chgData name="Remi de Vogel" userId="5948360e-7b9c-4a22-9ada-df5e8b901c82" providerId="ADAL" clId="{848B40CD-DCFD-4256-872E-30365CE333A5}" dt="2022-05-25T13:34:53.092" v="177"/>
          <ac:spMkLst>
            <pc:docMk/>
            <pc:sldMk cId="854196021" sldId="2145705718"/>
            <ac:spMk id="17" creationId="{622135BC-87FB-825E-0F77-4357C3D65751}"/>
          </ac:spMkLst>
        </pc:spChg>
        <pc:spChg chg="add del mod">
          <ac:chgData name="Remi de Vogel" userId="5948360e-7b9c-4a22-9ada-df5e8b901c82" providerId="ADAL" clId="{848B40CD-DCFD-4256-872E-30365CE333A5}" dt="2022-05-25T13:34:53.092" v="177"/>
          <ac:spMkLst>
            <pc:docMk/>
            <pc:sldMk cId="854196021" sldId="2145705718"/>
            <ac:spMk id="18" creationId="{C7D7034C-7A33-47AB-D580-C664A9034AB6}"/>
          </ac:spMkLst>
        </pc:spChg>
        <pc:spChg chg="add del mod">
          <ac:chgData name="Remi de Vogel" userId="5948360e-7b9c-4a22-9ada-df5e8b901c82" providerId="ADAL" clId="{848B40CD-DCFD-4256-872E-30365CE333A5}" dt="2022-05-25T13:34:56.066" v="178" actId="478"/>
          <ac:spMkLst>
            <pc:docMk/>
            <pc:sldMk cId="854196021" sldId="2145705718"/>
            <ac:spMk id="19" creationId="{1BAA2C1A-4A93-55CB-64D1-DB3ABCE8B3FF}"/>
          </ac:spMkLst>
        </pc:spChg>
        <pc:spChg chg="mod ord">
          <ac:chgData name="Remi de Vogel" userId="5948360e-7b9c-4a22-9ada-df5e8b901c82" providerId="ADAL" clId="{848B40CD-DCFD-4256-872E-30365CE333A5}" dt="2022-05-25T13:34:53.092" v="177"/>
          <ac:spMkLst>
            <pc:docMk/>
            <pc:sldMk cId="854196021" sldId="2145705718"/>
            <ac:spMk id="109" creationId="{0E8CC5A9-4045-4A42-BD48-9CA76EEE890F}"/>
          </ac:spMkLst>
        </pc:spChg>
        <pc:spChg chg="del mod">
          <ac:chgData name="Remi de Vogel" userId="5948360e-7b9c-4a22-9ada-df5e8b901c82" providerId="ADAL" clId="{848B40CD-DCFD-4256-872E-30365CE333A5}" dt="2022-05-25T13:34:36.913" v="174" actId="478"/>
          <ac:spMkLst>
            <pc:docMk/>
            <pc:sldMk cId="854196021" sldId="2145705718"/>
            <ac:spMk id="207" creationId="{D172F093-AEC0-4536-B04C-9551BBA0A3A3}"/>
          </ac:spMkLst>
        </pc:spChg>
      </pc:sldChg>
      <pc:sldChg chg="modSp mod">
        <pc:chgData name="Remi de Vogel" userId="5948360e-7b9c-4a22-9ada-df5e8b901c82" providerId="ADAL" clId="{848B40CD-DCFD-4256-872E-30365CE333A5}" dt="2022-05-25T13:40:36.750" v="357" actId="1076"/>
        <pc:sldMkLst>
          <pc:docMk/>
          <pc:sldMk cId="3905553784" sldId="2145705721"/>
        </pc:sldMkLst>
        <pc:spChg chg="mod">
          <ac:chgData name="Remi de Vogel" userId="5948360e-7b9c-4a22-9ada-df5e8b901c82" providerId="ADAL" clId="{848B40CD-DCFD-4256-872E-30365CE333A5}" dt="2022-05-25T13:40:36.750" v="357" actId="1076"/>
          <ac:spMkLst>
            <pc:docMk/>
            <pc:sldMk cId="3905553784" sldId="2145705721"/>
            <ac:spMk id="80" creationId="{107A66C4-52C9-421E-90D0-57FCD792A0EE}"/>
          </ac:spMkLst>
        </pc:spChg>
      </pc:sldChg>
      <pc:sldChg chg="addSp delSp modSp mod">
        <pc:chgData name="Remi de Vogel" userId="5948360e-7b9c-4a22-9ada-df5e8b901c82" providerId="ADAL" clId="{848B40CD-DCFD-4256-872E-30365CE333A5}" dt="2022-05-25T15:02:57.417" v="716" actId="478"/>
        <pc:sldMkLst>
          <pc:docMk/>
          <pc:sldMk cId="1315178886" sldId="2145705747"/>
        </pc:sldMkLst>
        <pc:spChg chg="add del mod">
          <ac:chgData name="Remi de Vogel" userId="5948360e-7b9c-4a22-9ada-df5e8b901c82" providerId="ADAL" clId="{848B40CD-DCFD-4256-872E-30365CE333A5}" dt="2022-05-25T15:02:49.830" v="712"/>
          <ac:spMkLst>
            <pc:docMk/>
            <pc:sldMk cId="1315178886" sldId="2145705747"/>
            <ac:spMk id="2" creationId="{E497F78D-A1AD-32E8-92FD-1C34EC64DC04}"/>
          </ac:spMkLst>
        </pc:spChg>
        <pc:spChg chg="add del mod">
          <ac:chgData name="Remi de Vogel" userId="5948360e-7b9c-4a22-9ada-df5e8b901c82" providerId="ADAL" clId="{848B40CD-DCFD-4256-872E-30365CE333A5}" dt="2022-05-25T15:02:49.830" v="712"/>
          <ac:spMkLst>
            <pc:docMk/>
            <pc:sldMk cId="1315178886" sldId="2145705747"/>
            <ac:spMk id="3" creationId="{08203453-3434-F35A-6307-AE9D265558DE}"/>
          </ac:spMkLst>
        </pc:spChg>
        <pc:spChg chg="add del mod">
          <ac:chgData name="Remi de Vogel" userId="5948360e-7b9c-4a22-9ada-df5e8b901c82" providerId="ADAL" clId="{848B40CD-DCFD-4256-872E-30365CE333A5}" dt="2022-05-25T15:02:49.830" v="712"/>
          <ac:spMkLst>
            <pc:docMk/>
            <pc:sldMk cId="1315178886" sldId="2145705747"/>
            <ac:spMk id="4" creationId="{677B4949-4DEE-D20D-4327-334645A21795}"/>
          </ac:spMkLst>
        </pc:spChg>
        <pc:spChg chg="add del mod">
          <ac:chgData name="Remi de Vogel" userId="5948360e-7b9c-4a22-9ada-df5e8b901c82" providerId="ADAL" clId="{848B40CD-DCFD-4256-872E-30365CE333A5}" dt="2022-05-25T15:02:50.698" v="713"/>
          <ac:spMkLst>
            <pc:docMk/>
            <pc:sldMk cId="1315178886" sldId="2145705747"/>
            <ac:spMk id="6" creationId="{3082C5E7-82B6-FD48-641E-32D54BC0552F}"/>
          </ac:spMkLst>
        </pc:spChg>
        <pc:spChg chg="add del mod">
          <ac:chgData name="Remi de Vogel" userId="5948360e-7b9c-4a22-9ada-df5e8b901c82" providerId="ADAL" clId="{848B40CD-DCFD-4256-872E-30365CE333A5}" dt="2022-05-25T15:02:50.851" v="714"/>
          <ac:spMkLst>
            <pc:docMk/>
            <pc:sldMk cId="1315178886" sldId="2145705747"/>
            <ac:spMk id="7" creationId="{B935D4C9-CC70-1B35-90F9-1FE7A4ADC441}"/>
          </ac:spMkLst>
        </pc:spChg>
        <pc:spChg chg="add del mod">
          <ac:chgData name="Remi de Vogel" userId="5948360e-7b9c-4a22-9ada-df5e8b901c82" providerId="ADAL" clId="{848B40CD-DCFD-4256-872E-30365CE333A5}" dt="2022-05-25T15:02:50.851" v="714"/>
          <ac:spMkLst>
            <pc:docMk/>
            <pc:sldMk cId="1315178886" sldId="2145705747"/>
            <ac:spMk id="8" creationId="{4A52C67E-83D1-5A33-BE38-1FE12A21F7E7}"/>
          </ac:spMkLst>
        </pc:spChg>
        <pc:spChg chg="del">
          <ac:chgData name="Remi de Vogel" userId="5948360e-7b9c-4a22-9ada-df5e8b901c82" providerId="ADAL" clId="{848B40CD-DCFD-4256-872E-30365CE333A5}" dt="2022-05-25T13:31:37.438" v="83" actId="478"/>
          <ac:spMkLst>
            <pc:docMk/>
            <pc:sldMk cId="1315178886" sldId="2145705747"/>
            <ac:spMk id="8" creationId="{D615A644-7B45-47B5-A060-B459431FC78A}"/>
          </ac:spMkLst>
        </pc:spChg>
        <pc:spChg chg="add del mod">
          <ac:chgData name="Remi de Vogel" userId="5948360e-7b9c-4a22-9ada-df5e8b901c82" providerId="ADAL" clId="{848B40CD-DCFD-4256-872E-30365CE333A5}" dt="2022-05-25T15:02:50.851" v="714"/>
          <ac:spMkLst>
            <pc:docMk/>
            <pc:sldMk cId="1315178886" sldId="2145705747"/>
            <ac:spMk id="9" creationId="{F5A9BAC3-B410-B8C2-6575-85BC53A99FE6}"/>
          </ac:spMkLst>
        </pc:spChg>
        <pc:spChg chg="add del mod">
          <ac:chgData name="Remi de Vogel" userId="5948360e-7b9c-4a22-9ada-df5e8b901c82" providerId="ADAL" clId="{848B40CD-DCFD-4256-872E-30365CE333A5}" dt="2022-05-25T15:02:51.004" v="715"/>
          <ac:spMkLst>
            <pc:docMk/>
            <pc:sldMk cId="1315178886" sldId="2145705747"/>
            <ac:spMk id="10" creationId="{CE786136-88FD-4F50-B844-F9778042A819}"/>
          </ac:spMkLst>
        </pc:spChg>
        <pc:spChg chg="mod">
          <ac:chgData name="Remi de Vogel" userId="5948360e-7b9c-4a22-9ada-df5e8b901c82" providerId="ADAL" clId="{848B40CD-DCFD-4256-872E-30365CE333A5}" dt="2022-05-25T15:02:51.004" v="715"/>
          <ac:spMkLst>
            <pc:docMk/>
            <pc:sldMk cId="1315178886" sldId="2145705747"/>
            <ac:spMk id="11" creationId="{503C9361-F164-4A6D-8A85-DC7366029E42}"/>
          </ac:spMkLst>
        </pc:spChg>
        <pc:spChg chg="add del mod">
          <ac:chgData name="Remi de Vogel" userId="5948360e-7b9c-4a22-9ada-df5e8b901c82" providerId="ADAL" clId="{848B40CD-DCFD-4256-872E-30365CE333A5}" dt="2022-05-25T15:02:51.004" v="715"/>
          <ac:spMkLst>
            <pc:docMk/>
            <pc:sldMk cId="1315178886" sldId="2145705747"/>
            <ac:spMk id="12" creationId="{2DC8C090-B74D-8D60-4BEB-4BB6FFF3AB01}"/>
          </ac:spMkLst>
        </pc:spChg>
        <pc:spChg chg="add del mod">
          <ac:chgData name="Remi de Vogel" userId="5948360e-7b9c-4a22-9ada-df5e8b901c82" providerId="ADAL" clId="{848B40CD-DCFD-4256-872E-30365CE333A5}" dt="2022-05-25T15:02:51.004" v="715"/>
          <ac:spMkLst>
            <pc:docMk/>
            <pc:sldMk cId="1315178886" sldId="2145705747"/>
            <ac:spMk id="13" creationId="{73D45FB2-BAB1-1365-6305-B628B655B37F}"/>
          </ac:spMkLst>
        </pc:spChg>
        <pc:spChg chg="add del mod">
          <ac:chgData name="Remi de Vogel" userId="5948360e-7b9c-4a22-9ada-df5e8b901c82" providerId="ADAL" clId="{848B40CD-DCFD-4256-872E-30365CE333A5}" dt="2022-05-25T15:02:57.417" v="716" actId="478"/>
          <ac:spMkLst>
            <pc:docMk/>
            <pc:sldMk cId="1315178886" sldId="2145705747"/>
            <ac:spMk id="14" creationId="{8AF72217-26C4-758F-915E-1CB013CAB20D}"/>
          </ac:spMkLst>
        </pc:spChg>
        <pc:spChg chg="add del mod">
          <ac:chgData name="Remi de Vogel" userId="5948360e-7b9c-4a22-9ada-df5e8b901c82" providerId="ADAL" clId="{848B40CD-DCFD-4256-872E-30365CE333A5}" dt="2022-05-25T15:02:57.417" v="716" actId="478"/>
          <ac:spMkLst>
            <pc:docMk/>
            <pc:sldMk cId="1315178886" sldId="2145705747"/>
            <ac:spMk id="16" creationId="{CC8BEFEB-0CDE-8B4B-4F2B-BA29F13DECF3}"/>
          </ac:spMkLst>
        </pc:spChg>
      </pc:sldChg>
      <pc:sldChg chg="addSp delSp modSp mod modClrScheme chgLayout">
        <pc:chgData name="Remi de Vogel" userId="5948360e-7b9c-4a22-9ada-df5e8b901c82" providerId="ADAL" clId="{848B40CD-DCFD-4256-872E-30365CE333A5}" dt="2022-05-25T13:48:15.404" v="600"/>
        <pc:sldMkLst>
          <pc:docMk/>
          <pc:sldMk cId="3250400868" sldId="2145705755"/>
        </pc:sldMkLst>
        <pc:spChg chg="mod ord">
          <ac:chgData name="Remi de Vogel" userId="5948360e-7b9c-4a22-9ada-df5e8b901c82" providerId="ADAL" clId="{848B40CD-DCFD-4256-872E-30365CE333A5}" dt="2022-05-25T13:48:15.404" v="600"/>
          <ac:spMkLst>
            <pc:docMk/>
            <pc:sldMk cId="3250400868" sldId="2145705755"/>
            <ac:spMk id="2" creationId="{00000000-0000-0000-0000-000000000000}"/>
          </ac:spMkLst>
        </pc:spChg>
        <pc:spChg chg="mod ord">
          <ac:chgData name="Remi de Vogel" userId="5948360e-7b9c-4a22-9ada-df5e8b901c82" providerId="ADAL" clId="{848B40CD-DCFD-4256-872E-30365CE333A5}" dt="2022-05-25T13:48:15.404" v="600"/>
          <ac:spMkLst>
            <pc:docMk/>
            <pc:sldMk cId="3250400868" sldId="2145705755"/>
            <ac:spMk id="5" creationId="{00000000-0000-0000-0000-000000000000}"/>
          </ac:spMkLst>
        </pc:spChg>
        <pc:spChg chg="add del mod ord">
          <ac:chgData name="Remi de Vogel" userId="5948360e-7b9c-4a22-9ada-df5e8b901c82" providerId="ADAL" clId="{848B40CD-DCFD-4256-872E-30365CE333A5}" dt="2022-05-25T13:48:12.377" v="598" actId="478"/>
          <ac:spMkLst>
            <pc:docMk/>
            <pc:sldMk cId="3250400868" sldId="2145705755"/>
            <ac:spMk id="6" creationId="{F1C0A682-7A86-7440-9545-E83F7A59BA6F}"/>
          </ac:spMkLst>
        </pc:spChg>
        <pc:spChg chg="add del mod">
          <ac:chgData name="Remi de Vogel" userId="5948360e-7b9c-4a22-9ada-df5e8b901c82" providerId="ADAL" clId="{848B40CD-DCFD-4256-872E-30365CE333A5}" dt="2022-05-25T13:48:15.404" v="600"/>
          <ac:spMkLst>
            <pc:docMk/>
            <pc:sldMk cId="3250400868" sldId="2145705755"/>
            <ac:spMk id="7" creationId="{D415D3A0-C558-6763-1483-C73215FA19CE}"/>
          </ac:spMkLst>
        </pc:spChg>
        <pc:spChg chg="add del mod">
          <ac:chgData name="Remi de Vogel" userId="5948360e-7b9c-4a22-9ada-df5e8b901c82" providerId="ADAL" clId="{848B40CD-DCFD-4256-872E-30365CE333A5}" dt="2022-05-25T13:48:15.404" v="600"/>
          <ac:spMkLst>
            <pc:docMk/>
            <pc:sldMk cId="3250400868" sldId="2145705755"/>
            <ac:spMk id="8" creationId="{27B17C8D-0696-F378-1063-535CD68D6CD2}"/>
          </ac:spMkLst>
        </pc:spChg>
        <pc:spChg chg="mod ord">
          <ac:chgData name="Remi de Vogel" userId="5948360e-7b9c-4a22-9ada-df5e8b901c82" providerId="ADAL" clId="{848B40CD-DCFD-4256-872E-30365CE333A5}" dt="2022-05-25T13:48:15.404" v="600"/>
          <ac:spMkLst>
            <pc:docMk/>
            <pc:sldMk cId="3250400868" sldId="2145705755"/>
            <ac:spMk id="9" creationId="{86029CEA-19F7-8A6F-A830-6E48F5081A05}"/>
          </ac:spMkLst>
        </pc:spChg>
        <pc:spChg chg="add del mod">
          <ac:chgData name="Remi de Vogel" userId="5948360e-7b9c-4a22-9ada-df5e8b901c82" providerId="ADAL" clId="{848B40CD-DCFD-4256-872E-30365CE333A5}" dt="2022-05-25T13:48:15.404" v="600"/>
          <ac:spMkLst>
            <pc:docMk/>
            <pc:sldMk cId="3250400868" sldId="2145705755"/>
            <ac:spMk id="10" creationId="{63455985-0C05-9296-B05D-1F17BD208A64}"/>
          </ac:spMkLst>
        </pc:spChg>
        <pc:spChg chg="add del mod">
          <ac:chgData name="Remi de Vogel" userId="5948360e-7b9c-4a22-9ada-df5e8b901c82" providerId="ADAL" clId="{848B40CD-DCFD-4256-872E-30365CE333A5}" dt="2022-05-25T13:48:15.404" v="600"/>
          <ac:spMkLst>
            <pc:docMk/>
            <pc:sldMk cId="3250400868" sldId="2145705755"/>
            <ac:spMk id="11" creationId="{249533EF-64E3-D788-0F31-E237BA5B9F41}"/>
          </ac:spMkLst>
        </pc:spChg>
        <pc:spChg chg="add del mod">
          <ac:chgData name="Remi de Vogel" userId="5948360e-7b9c-4a22-9ada-df5e8b901c82" providerId="ADAL" clId="{848B40CD-DCFD-4256-872E-30365CE333A5}" dt="2022-05-25T13:48:15.404" v="600"/>
          <ac:spMkLst>
            <pc:docMk/>
            <pc:sldMk cId="3250400868" sldId="2145705755"/>
            <ac:spMk id="12" creationId="{97B805E3-B8F1-FB30-39BE-E9CF4D42407D}"/>
          </ac:spMkLst>
        </pc:spChg>
        <pc:spChg chg="add del mod">
          <ac:chgData name="Remi de Vogel" userId="5948360e-7b9c-4a22-9ada-df5e8b901c82" providerId="ADAL" clId="{848B40CD-DCFD-4256-872E-30365CE333A5}" dt="2022-05-25T13:48:15.404" v="600"/>
          <ac:spMkLst>
            <pc:docMk/>
            <pc:sldMk cId="3250400868" sldId="2145705755"/>
            <ac:spMk id="13" creationId="{E2EA55BA-D6C4-68E1-E4D5-4F55AD34C02A}"/>
          </ac:spMkLst>
        </pc:spChg>
        <pc:spChg chg="add del mod">
          <ac:chgData name="Remi de Vogel" userId="5948360e-7b9c-4a22-9ada-df5e8b901c82" providerId="ADAL" clId="{848B40CD-DCFD-4256-872E-30365CE333A5}" dt="2022-05-25T13:48:15.404" v="600"/>
          <ac:spMkLst>
            <pc:docMk/>
            <pc:sldMk cId="3250400868" sldId="2145705755"/>
            <ac:spMk id="14" creationId="{E501A3A9-95A9-DA4F-0ACC-6B5EE7CD12A8}"/>
          </ac:spMkLst>
        </pc:spChg>
        <pc:spChg chg="mod ord">
          <ac:chgData name="Remi de Vogel" userId="5948360e-7b9c-4a22-9ada-df5e8b901c82" providerId="ADAL" clId="{848B40CD-DCFD-4256-872E-30365CE333A5}" dt="2022-05-25T13:48:15.404" v="600"/>
          <ac:spMkLst>
            <pc:docMk/>
            <pc:sldMk cId="3250400868" sldId="2145705755"/>
            <ac:spMk id="101" creationId="{4E38BFBA-8470-F843-9668-E950CE2296E8}"/>
          </ac:spMkLst>
        </pc:spChg>
        <pc:spChg chg="del">
          <ac:chgData name="Remi de Vogel" userId="5948360e-7b9c-4a22-9ada-df5e8b901c82" providerId="ADAL" clId="{848B40CD-DCFD-4256-872E-30365CE333A5}" dt="2022-05-25T13:48:10.805" v="597" actId="478"/>
          <ac:spMkLst>
            <pc:docMk/>
            <pc:sldMk cId="3250400868" sldId="2145705755"/>
            <ac:spMk id="106" creationId="{ADD079E8-D1F3-B222-DAA1-FF19129A0822}"/>
          </ac:spMkLst>
        </pc:spChg>
        <pc:spChg chg="mod ord">
          <ac:chgData name="Remi de Vogel" userId="5948360e-7b9c-4a22-9ada-df5e8b901c82" providerId="ADAL" clId="{848B40CD-DCFD-4256-872E-30365CE333A5}" dt="2022-05-25T13:48:15.404" v="600"/>
          <ac:spMkLst>
            <pc:docMk/>
            <pc:sldMk cId="3250400868" sldId="2145705755"/>
            <ac:spMk id="169" creationId="{2C8B7276-8462-6C2C-FB82-03DF02208C9E}"/>
          </ac:spMkLst>
        </pc:spChg>
        <pc:spChg chg="mod ord">
          <ac:chgData name="Remi de Vogel" userId="5948360e-7b9c-4a22-9ada-df5e8b901c82" providerId="ADAL" clId="{848B40CD-DCFD-4256-872E-30365CE333A5}" dt="2022-05-25T13:48:15.404" v="600"/>
          <ac:spMkLst>
            <pc:docMk/>
            <pc:sldMk cId="3250400868" sldId="2145705755"/>
            <ac:spMk id="170" creationId="{73722145-9AFC-7CAE-B1F2-C412C2B649CA}"/>
          </ac:spMkLst>
        </pc:spChg>
      </pc:sldChg>
      <pc:sldChg chg="addSp delSp modSp mod modClrScheme chgLayout">
        <pc:chgData name="Remi de Vogel" userId="5948360e-7b9c-4a22-9ada-df5e8b901c82" providerId="ADAL" clId="{848B40CD-DCFD-4256-872E-30365CE333A5}" dt="2022-05-25T13:31:25.972" v="80" actId="478"/>
        <pc:sldMkLst>
          <pc:docMk/>
          <pc:sldMk cId="3156913983" sldId="2145705759"/>
        </pc:sldMkLst>
        <pc:spChg chg="mod ord">
          <ac:chgData name="Remi de Vogel" userId="5948360e-7b9c-4a22-9ada-df5e8b901c82" providerId="ADAL" clId="{848B40CD-DCFD-4256-872E-30365CE333A5}" dt="2022-05-25T13:30:22.945" v="62" actId="700"/>
          <ac:spMkLst>
            <pc:docMk/>
            <pc:sldMk cId="3156913983" sldId="2145705759"/>
            <ac:spMk id="2" creationId="{00000000-0000-0000-0000-000000000000}"/>
          </ac:spMkLst>
        </pc:spChg>
        <pc:spChg chg="mod ord">
          <ac:chgData name="Remi de Vogel" userId="5948360e-7b9c-4a22-9ada-df5e8b901c82" providerId="ADAL" clId="{848B40CD-DCFD-4256-872E-30365CE333A5}" dt="2022-05-25T13:30:22.945" v="62" actId="700"/>
          <ac:spMkLst>
            <pc:docMk/>
            <pc:sldMk cId="3156913983" sldId="2145705759"/>
            <ac:spMk id="4" creationId="{00000000-0000-0000-0000-000000000000}"/>
          </ac:spMkLst>
        </pc:spChg>
        <pc:spChg chg="mod ord">
          <ac:chgData name="Remi de Vogel" userId="5948360e-7b9c-4a22-9ada-df5e8b901c82" providerId="ADAL" clId="{848B40CD-DCFD-4256-872E-30365CE333A5}" dt="2022-05-25T13:30:22.945" v="62" actId="700"/>
          <ac:spMkLst>
            <pc:docMk/>
            <pc:sldMk cId="3156913983" sldId="2145705759"/>
            <ac:spMk id="5" creationId="{51B4FEA8-4C69-777C-9A0F-8684EF224765}"/>
          </ac:spMkLst>
        </pc:spChg>
        <pc:spChg chg="mod ord">
          <ac:chgData name="Remi de Vogel" userId="5948360e-7b9c-4a22-9ada-df5e8b901c82" providerId="ADAL" clId="{848B40CD-DCFD-4256-872E-30365CE333A5}" dt="2022-05-25T13:30:22.945" v="62" actId="700"/>
          <ac:spMkLst>
            <pc:docMk/>
            <pc:sldMk cId="3156913983" sldId="2145705759"/>
            <ac:spMk id="6" creationId="{074114B0-67F2-4881-521A-F7DCCAE581FD}"/>
          </ac:spMkLst>
        </pc:spChg>
        <pc:spChg chg="mod ord">
          <ac:chgData name="Remi de Vogel" userId="5948360e-7b9c-4a22-9ada-df5e8b901c82" providerId="ADAL" clId="{848B40CD-DCFD-4256-872E-30365CE333A5}" dt="2022-05-25T13:30:22.945" v="62" actId="700"/>
          <ac:spMkLst>
            <pc:docMk/>
            <pc:sldMk cId="3156913983" sldId="2145705759"/>
            <ac:spMk id="8" creationId="{72366203-3ED1-1056-B8C5-CFFDC4212D22}"/>
          </ac:spMkLst>
        </pc:spChg>
        <pc:spChg chg="mod ord">
          <ac:chgData name="Remi de Vogel" userId="5948360e-7b9c-4a22-9ada-df5e8b901c82" providerId="ADAL" clId="{848B40CD-DCFD-4256-872E-30365CE333A5}" dt="2022-05-25T13:30:22.945" v="62" actId="700"/>
          <ac:spMkLst>
            <pc:docMk/>
            <pc:sldMk cId="3156913983" sldId="2145705759"/>
            <ac:spMk id="9" creationId="{04D9C48B-A434-7F04-5BF5-992FFA3F3BD8}"/>
          </ac:spMkLst>
        </pc:spChg>
        <pc:spChg chg="add del mod ord">
          <ac:chgData name="Remi de Vogel" userId="5948360e-7b9c-4a22-9ada-df5e8b901c82" providerId="ADAL" clId="{848B40CD-DCFD-4256-872E-30365CE333A5}" dt="2022-05-25T13:30:24.525" v="63" actId="478"/>
          <ac:spMkLst>
            <pc:docMk/>
            <pc:sldMk cId="3156913983" sldId="2145705759"/>
            <ac:spMk id="10" creationId="{F42EBC5E-478C-765A-8524-C426E5AB32E1}"/>
          </ac:spMkLst>
        </pc:spChg>
        <pc:spChg chg="del">
          <ac:chgData name="Remi de Vogel" userId="5948360e-7b9c-4a22-9ada-df5e8b901c82" providerId="ADAL" clId="{848B40CD-DCFD-4256-872E-30365CE333A5}" dt="2022-05-25T13:30:28.321" v="65" actId="478"/>
          <ac:spMkLst>
            <pc:docMk/>
            <pc:sldMk cId="3156913983" sldId="2145705759"/>
            <ac:spMk id="38" creationId="{EC38BF69-A7AC-402A-9DA3-5C6B72D3B82F}"/>
          </ac:spMkLst>
        </pc:spChg>
        <pc:spChg chg="del mod">
          <ac:chgData name="Remi de Vogel" userId="5948360e-7b9c-4a22-9ada-df5e8b901c82" providerId="ADAL" clId="{848B40CD-DCFD-4256-872E-30365CE333A5}" dt="2022-05-25T13:30:30.106" v="66" actId="478"/>
          <ac:spMkLst>
            <pc:docMk/>
            <pc:sldMk cId="3156913983" sldId="2145705759"/>
            <ac:spMk id="45" creationId="{FA6A7FF6-7A59-2D72-1D7D-B8F40DEB1700}"/>
          </ac:spMkLst>
        </pc:spChg>
        <pc:spChg chg="del mod">
          <ac:chgData name="Remi de Vogel" userId="5948360e-7b9c-4a22-9ada-df5e8b901c82" providerId="ADAL" clId="{848B40CD-DCFD-4256-872E-30365CE333A5}" dt="2022-05-25T13:31:25.972" v="80" actId="478"/>
          <ac:spMkLst>
            <pc:docMk/>
            <pc:sldMk cId="3156913983" sldId="2145705759"/>
            <ac:spMk id="46" creationId="{0D22C7D8-557F-2857-C98F-B15C6CAC4E98}"/>
          </ac:spMkLst>
        </pc:spChg>
      </pc:sldChg>
      <pc:sldChg chg="addSp delSp modSp mod modClrScheme chgLayout">
        <pc:chgData name="Remi de Vogel" userId="5948360e-7b9c-4a22-9ada-df5e8b901c82" providerId="ADAL" clId="{848B40CD-DCFD-4256-872E-30365CE333A5}" dt="2022-05-25T13:47:29.061" v="587" actId="700"/>
        <pc:sldMkLst>
          <pc:docMk/>
          <pc:sldMk cId="4217213984" sldId="2145705768"/>
        </pc:sldMkLst>
        <pc:spChg chg="mod ord">
          <ac:chgData name="Remi de Vogel" userId="5948360e-7b9c-4a22-9ada-df5e8b901c82" providerId="ADAL" clId="{848B40CD-DCFD-4256-872E-30365CE333A5}" dt="2022-05-25T13:47:29.061" v="587" actId="700"/>
          <ac:spMkLst>
            <pc:docMk/>
            <pc:sldMk cId="4217213984" sldId="2145705768"/>
            <ac:spMk id="2" creationId="{05216DF8-B9AB-4518-BFC4-8931EE5F717F}"/>
          </ac:spMkLst>
        </pc:spChg>
        <pc:spChg chg="mod ord">
          <ac:chgData name="Remi de Vogel" userId="5948360e-7b9c-4a22-9ada-df5e8b901c82" providerId="ADAL" clId="{848B40CD-DCFD-4256-872E-30365CE333A5}" dt="2022-05-25T13:47:29.061" v="587" actId="700"/>
          <ac:spMkLst>
            <pc:docMk/>
            <pc:sldMk cId="4217213984" sldId="2145705768"/>
            <ac:spMk id="3" creationId="{B9CE1319-2EB1-4967-A6E7-219362E4CC02}"/>
          </ac:spMkLst>
        </pc:spChg>
        <pc:spChg chg="mod ord">
          <ac:chgData name="Remi de Vogel" userId="5948360e-7b9c-4a22-9ada-df5e8b901c82" providerId="ADAL" clId="{848B40CD-DCFD-4256-872E-30365CE333A5}" dt="2022-05-25T13:47:29.061" v="587" actId="700"/>
          <ac:spMkLst>
            <pc:docMk/>
            <pc:sldMk cId="4217213984" sldId="2145705768"/>
            <ac:spMk id="4" creationId="{4424A250-F7FD-9448-66A9-57DB503245E5}"/>
          </ac:spMkLst>
        </pc:spChg>
        <pc:spChg chg="add del mod ord">
          <ac:chgData name="Remi de Vogel" userId="5948360e-7b9c-4a22-9ada-df5e8b901c82" providerId="ADAL" clId="{848B40CD-DCFD-4256-872E-30365CE333A5}" dt="2022-05-25T13:44:31.727" v="481" actId="700"/>
          <ac:spMkLst>
            <pc:docMk/>
            <pc:sldMk cId="4217213984" sldId="2145705768"/>
            <ac:spMk id="7" creationId="{5B7C7827-2683-BB51-DFEE-CB3B98AEBFA3}"/>
          </ac:spMkLst>
        </pc:spChg>
        <pc:spChg chg="add del mod">
          <ac:chgData name="Remi de Vogel" userId="5948360e-7b9c-4a22-9ada-df5e8b901c82" providerId="ADAL" clId="{848B40CD-DCFD-4256-872E-30365CE333A5}" dt="2022-05-25T13:45:40.337" v="548"/>
          <ac:spMkLst>
            <pc:docMk/>
            <pc:sldMk cId="4217213984" sldId="2145705768"/>
            <ac:spMk id="8" creationId="{4BD02A87-E9A7-5B9B-71E1-89C77755E581}"/>
          </ac:spMkLst>
        </pc:spChg>
        <pc:spChg chg="mod ord">
          <ac:chgData name="Remi de Vogel" userId="5948360e-7b9c-4a22-9ada-df5e8b901c82" providerId="ADAL" clId="{848B40CD-DCFD-4256-872E-30365CE333A5}" dt="2022-05-25T13:47:29.061" v="587" actId="700"/>
          <ac:spMkLst>
            <pc:docMk/>
            <pc:sldMk cId="4217213984" sldId="2145705768"/>
            <ac:spMk id="9" creationId="{05EFD18F-A81A-42F0-EBAF-AA4613ECE2CD}"/>
          </ac:spMkLst>
        </pc:spChg>
        <pc:spChg chg="add del mod">
          <ac:chgData name="Remi de Vogel" userId="5948360e-7b9c-4a22-9ada-df5e8b901c82" providerId="ADAL" clId="{848B40CD-DCFD-4256-872E-30365CE333A5}" dt="2022-05-25T13:45:40.337" v="548"/>
          <ac:spMkLst>
            <pc:docMk/>
            <pc:sldMk cId="4217213984" sldId="2145705768"/>
            <ac:spMk id="10" creationId="{92DA6543-5FB3-8DAC-434D-439E70D208FF}"/>
          </ac:spMkLst>
        </pc:spChg>
        <pc:spChg chg="add del mod">
          <ac:chgData name="Remi de Vogel" userId="5948360e-7b9c-4a22-9ada-df5e8b901c82" providerId="ADAL" clId="{848B40CD-DCFD-4256-872E-30365CE333A5}" dt="2022-05-25T13:45:40.337" v="548"/>
          <ac:spMkLst>
            <pc:docMk/>
            <pc:sldMk cId="4217213984" sldId="2145705768"/>
            <ac:spMk id="11" creationId="{EB6D9C86-37E2-9250-A354-5FF234875AE5}"/>
          </ac:spMkLst>
        </pc:spChg>
        <pc:spChg chg="add del mod">
          <ac:chgData name="Remi de Vogel" userId="5948360e-7b9c-4a22-9ada-df5e8b901c82" providerId="ADAL" clId="{848B40CD-DCFD-4256-872E-30365CE333A5}" dt="2022-05-25T13:45:40.337" v="548"/>
          <ac:spMkLst>
            <pc:docMk/>
            <pc:sldMk cId="4217213984" sldId="2145705768"/>
            <ac:spMk id="12" creationId="{F72C3F7D-3DD8-DA01-4DB7-88F9F58934D1}"/>
          </ac:spMkLst>
        </pc:spChg>
        <pc:spChg chg="add del mod">
          <ac:chgData name="Remi de Vogel" userId="5948360e-7b9c-4a22-9ada-df5e8b901c82" providerId="ADAL" clId="{848B40CD-DCFD-4256-872E-30365CE333A5}" dt="2022-05-25T13:45:40.337" v="548"/>
          <ac:spMkLst>
            <pc:docMk/>
            <pc:sldMk cId="4217213984" sldId="2145705768"/>
            <ac:spMk id="13" creationId="{C5D3168A-C8BB-FA0A-2375-194AFD579956}"/>
          </ac:spMkLst>
        </pc:spChg>
        <pc:spChg chg="add del mod">
          <ac:chgData name="Remi de Vogel" userId="5948360e-7b9c-4a22-9ada-df5e8b901c82" providerId="ADAL" clId="{848B40CD-DCFD-4256-872E-30365CE333A5}" dt="2022-05-25T13:45:40.337" v="548"/>
          <ac:spMkLst>
            <pc:docMk/>
            <pc:sldMk cId="4217213984" sldId="2145705768"/>
            <ac:spMk id="14" creationId="{CF2994B3-2D12-C0AD-182E-012DC00B190A}"/>
          </ac:spMkLst>
        </pc:spChg>
        <pc:spChg chg="add del mod">
          <ac:chgData name="Remi de Vogel" userId="5948360e-7b9c-4a22-9ada-df5e8b901c82" providerId="ADAL" clId="{848B40CD-DCFD-4256-872E-30365CE333A5}" dt="2022-05-25T13:46:50.139" v="585" actId="478"/>
          <ac:spMkLst>
            <pc:docMk/>
            <pc:sldMk cId="4217213984" sldId="2145705768"/>
            <ac:spMk id="62" creationId="{2DE2E259-76F0-16CD-5F94-30B3399F87CC}"/>
          </ac:spMkLst>
        </pc:spChg>
        <pc:spChg chg="mod ord">
          <ac:chgData name="Remi de Vogel" userId="5948360e-7b9c-4a22-9ada-df5e8b901c82" providerId="ADAL" clId="{848B40CD-DCFD-4256-872E-30365CE333A5}" dt="2022-05-25T13:47:29.061" v="587" actId="700"/>
          <ac:spMkLst>
            <pc:docMk/>
            <pc:sldMk cId="4217213984" sldId="2145705768"/>
            <ac:spMk id="97" creationId="{342DB184-FF93-C586-3C69-B65F7AD27D76}"/>
          </ac:spMkLst>
        </pc:spChg>
        <pc:spChg chg="mod ord">
          <ac:chgData name="Remi de Vogel" userId="5948360e-7b9c-4a22-9ada-df5e8b901c82" providerId="ADAL" clId="{848B40CD-DCFD-4256-872E-30365CE333A5}" dt="2022-05-25T13:47:29.061" v="587" actId="700"/>
          <ac:spMkLst>
            <pc:docMk/>
            <pc:sldMk cId="4217213984" sldId="2145705768"/>
            <ac:spMk id="98" creationId="{9FFFEC4C-3995-ED71-FB56-5D3CC5AFD337}"/>
          </ac:spMkLst>
        </pc:spChg>
      </pc:sldChg>
      <pc:sldChg chg="new del">
        <pc:chgData name="Remi de Vogel" userId="5948360e-7b9c-4a22-9ada-df5e8b901c82" providerId="ADAL" clId="{848B40CD-DCFD-4256-872E-30365CE333A5}" dt="2022-05-25T15:25:39.616" v="824" actId="680"/>
        <pc:sldMkLst>
          <pc:docMk/>
          <pc:sldMk cId="1938327801" sldId="2145705769"/>
        </pc:sldMkLst>
      </pc:sldChg>
      <pc:sldMasterChg chg="modSp mod addSldLayout delSldLayout modSldLayout sldLayoutOrd">
        <pc:chgData name="Remi de Vogel" userId="5948360e-7b9c-4a22-9ada-df5e8b901c82" providerId="ADAL" clId="{848B40CD-DCFD-4256-872E-30365CE333A5}" dt="2022-05-25T15:30:19.363" v="876" actId="1076"/>
        <pc:sldMasterMkLst>
          <pc:docMk/>
          <pc:sldMasterMk cId="259861064" sldId="2147483648"/>
        </pc:sldMasterMkLst>
        <pc:spChg chg="mod">
          <ac:chgData name="Remi de Vogel" userId="5948360e-7b9c-4a22-9ada-df5e8b901c82" providerId="ADAL" clId="{848B40CD-DCFD-4256-872E-30365CE333A5}" dt="2022-05-25T15:05:06.204" v="763" actId="1076"/>
          <ac:spMkLst>
            <pc:docMk/>
            <pc:sldMasterMk cId="259861064" sldId="2147483648"/>
            <ac:spMk id="4" creationId="{00000000-0000-0000-0000-000000000000}"/>
          </ac:spMkLst>
        </pc:spChg>
        <pc:spChg chg="mod">
          <ac:chgData name="Remi de Vogel" userId="5948360e-7b9c-4a22-9ada-df5e8b901c82" providerId="ADAL" clId="{848B40CD-DCFD-4256-872E-30365CE333A5}" dt="2022-05-25T15:05:06.204" v="763" actId="1076"/>
          <ac:spMkLst>
            <pc:docMk/>
            <pc:sldMasterMk cId="259861064" sldId="2147483648"/>
            <ac:spMk id="5" creationId="{00000000-0000-0000-0000-000000000000}"/>
          </ac:spMkLst>
        </pc:spChg>
        <pc:spChg chg="mod">
          <ac:chgData name="Remi de Vogel" userId="5948360e-7b9c-4a22-9ada-df5e8b901c82" providerId="ADAL" clId="{848B40CD-DCFD-4256-872E-30365CE333A5}" dt="2022-05-25T15:11:18.172" v="805" actId="6549"/>
          <ac:spMkLst>
            <pc:docMk/>
            <pc:sldMasterMk cId="259861064" sldId="2147483648"/>
            <ac:spMk id="9" creationId="{B42C15D8-8A65-4417-B793-313E11968321}"/>
          </ac:spMkLst>
        </pc:spChg>
        <pc:sldLayoutChg chg="modSp mod">
          <pc:chgData name="Remi de Vogel" userId="5948360e-7b9c-4a22-9ada-df5e8b901c82" providerId="ADAL" clId="{848B40CD-DCFD-4256-872E-30365CE333A5}" dt="2022-05-25T15:30:19.363" v="876" actId="1076"/>
          <pc:sldLayoutMkLst>
            <pc:docMk/>
            <pc:sldMasterMk cId="259861064" sldId="2147483648"/>
            <pc:sldLayoutMk cId="1494416066" sldId="2147483662"/>
          </pc:sldLayoutMkLst>
          <pc:spChg chg="mod">
            <ac:chgData name="Remi de Vogel" userId="5948360e-7b9c-4a22-9ada-df5e8b901c82" providerId="ADAL" clId="{848B40CD-DCFD-4256-872E-30365CE333A5}" dt="2022-05-25T15:30:19.363" v="876" actId="1076"/>
            <ac:spMkLst>
              <pc:docMk/>
              <pc:sldMasterMk cId="259861064" sldId="2147483648"/>
              <pc:sldLayoutMk cId="1494416066" sldId="2147483662"/>
              <ac:spMk id="2" creationId="{18880F6C-BA0F-48B4-BC54-D8980E26D138}"/>
            </ac:spMkLst>
          </pc:spChg>
          <pc:grpChg chg="mod">
            <ac:chgData name="Remi de Vogel" userId="5948360e-7b9c-4a22-9ada-df5e8b901c82" providerId="ADAL" clId="{848B40CD-DCFD-4256-872E-30365CE333A5}" dt="2022-05-25T15:09:35.434" v="799" actId="1076"/>
            <ac:grpSpMkLst>
              <pc:docMk/>
              <pc:sldMasterMk cId="259861064" sldId="2147483648"/>
              <pc:sldLayoutMk cId="1494416066" sldId="2147483662"/>
              <ac:grpSpMk id="17" creationId="{283B865A-706D-4ED4-B320-4B8778015BED}"/>
            </ac:grpSpMkLst>
          </pc:grpChg>
        </pc:sldLayoutChg>
        <pc:sldLayoutChg chg="addSp delSp modSp mod">
          <pc:chgData name="Remi de Vogel" userId="5948360e-7b9c-4a22-9ada-df5e8b901c82" providerId="ADAL" clId="{848B40CD-DCFD-4256-872E-30365CE333A5}" dt="2022-05-25T15:28:17.030" v="827" actId="478"/>
          <pc:sldLayoutMkLst>
            <pc:docMk/>
            <pc:sldMasterMk cId="259861064" sldId="2147483648"/>
            <pc:sldLayoutMk cId="2755087783" sldId="2147483663"/>
          </pc:sldLayoutMkLst>
          <pc:spChg chg="mod">
            <ac:chgData name="Remi de Vogel" userId="5948360e-7b9c-4a22-9ada-df5e8b901c82" providerId="ADAL" clId="{848B40CD-DCFD-4256-872E-30365CE333A5}" dt="2022-05-25T13:51:23.986" v="613" actId="1076"/>
            <ac:spMkLst>
              <pc:docMk/>
              <pc:sldMasterMk cId="259861064" sldId="2147483648"/>
              <pc:sldLayoutMk cId="2755087783" sldId="2147483663"/>
              <ac:spMk id="4" creationId="{00000000-0000-0000-0000-000000000000}"/>
            </ac:spMkLst>
          </pc:spChg>
          <pc:spChg chg="mod">
            <ac:chgData name="Remi de Vogel" userId="5948360e-7b9c-4a22-9ada-df5e8b901c82" providerId="ADAL" clId="{848B40CD-DCFD-4256-872E-30365CE333A5}" dt="2022-05-25T13:51:23.986" v="613" actId="1076"/>
            <ac:spMkLst>
              <pc:docMk/>
              <pc:sldMasterMk cId="259861064" sldId="2147483648"/>
              <pc:sldLayoutMk cId="2755087783" sldId="2147483663"/>
              <ac:spMk id="5" creationId="{00000000-0000-0000-0000-000000000000}"/>
            </ac:spMkLst>
          </pc:spChg>
          <pc:spChg chg="add del mod">
            <ac:chgData name="Remi de Vogel" userId="5948360e-7b9c-4a22-9ada-df5e8b901c82" providerId="ADAL" clId="{848B40CD-DCFD-4256-872E-30365CE333A5}" dt="2022-05-25T13:36:26.051" v="220"/>
            <ac:spMkLst>
              <pc:docMk/>
              <pc:sldMasterMk cId="259861064" sldId="2147483648"/>
              <pc:sldLayoutMk cId="2755087783" sldId="2147483663"/>
              <ac:spMk id="10" creationId="{6FE0DE44-7133-EBBB-1929-F557406CA16D}"/>
            </ac:spMkLst>
          </pc:spChg>
          <pc:spChg chg="add del mod">
            <ac:chgData name="Remi de Vogel" userId="5948360e-7b9c-4a22-9ada-df5e8b901c82" providerId="ADAL" clId="{848B40CD-DCFD-4256-872E-30365CE333A5}" dt="2022-05-25T13:51:31.077" v="617" actId="478"/>
            <ac:spMkLst>
              <pc:docMk/>
              <pc:sldMasterMk cId="259861064" sldId="2147483648"/>
              <pc:sldLayoutMk cId="2755087783" sldId="2147483663"/>
              <ac:spMk id="13" creationId="{4C40406D-1D7F-C992-EC43-07DFDC7F3F78}"/>
            </ac:spMkLst>
          </pc:spChg>
          <pc:spChg chg="add del mod">
            <ac:chgData name="Remi de Vogel" userId="5948360e-7b9c-4a22-9ada-df5e8b901c82" providerId="ADAL" clId="{848B40CD-DCFD-4256-872E-30365CE333A5}" dt="2022-05-25T15:28:17.030" v="827" actId="478"/>
            <ac:spMkLst>
              <pc:docMk/>
              <pc:sldMasterMk cId="259861064" sldId="2147483648"/>
              <pc:sldLayoutMk cId="2755087783" sldId="2147483663"/>
              <ac:spMk id="13" creationId="{9C0D7A5A-48AF-B9CB-C1E3-9803C1779C44}"/>
            </ac:spMkLst>
          </pc:spChg>
          <pc:spChg chg="add del mod">
            <ac:chgData name="Remi de Vogel" userId="5948360e-7b9c-4a22-9ada-df5e8b901c82" providerId="ADAL" clId="{848B40CD-DCFD-4256-872E-30365CE333A5}" dt="2022-05-25T15:28:17.030" v="827" actId="478"/>
            <ac:spMkLst>
              <pc:docMk/>
              <pc:sldMasterMk cId="259861064" sldId="2147483648"/>
              <pc:sldLayoutMk cId="2755087783" sldId="2147483663"/>
              <ac:spMk id="14" creationId="{497916AA-E179-4DD8-6B06-608B51300F6D}"/>
            </ac:spMkLst>
          </pc:spChg>
          <pc:spChg chg="add del mod">
            <ac:chgData name="Remi de Vogel" userId="5948360e-7b9c-4a22-9ada-df5e8b901c82" providerId="ADAL" clId="{848B40CD-DCFD-4256-872E-30365CE333A5}" dt="2022-05-25T13:51:31.077" v="617" actId="478"/>
            <ac:spMkLst>
              <pc:docMk/>
              <pc:sldMasterMk cId="259861064" sldId="2147483648"/>
              <pc:sldLayoutMk cId="2755087783" sldId="2147483663"/>
              <ac:spMk id="14" creationId="{D04A87EC-A45E-A8E7-E41B-7B3F6EACC5FF}"/>
            </ac:spMkLst>
          </pc:spChg>
          <pc:spChg chg="add mod">
            <ac:chgData name="Remi de Vogel" userId="5948360e-7b9c-4a22-9ada-df5e8b901c82" providerId="ADAL" clId="{848B40CD-DCFD-4256-872E-30365CE333A5}" dt="2022-05-25T15:28:14.657" v="826"/>
            <ac:spMkLst>
              <pc:docMk/>
              <pc:sldMasterMk cId="259861064" sldId="2147483648"/>
              <pc:sldLayoutMk cId="2755087783" sldId="2147483663"/>
              <ac:spMk id="16" creationId="{613655EA-9D90-0E48-F180-4798D4801B4A}"/>
            </ac:spMkLst>
          </pc:spChg>
          <pc:spChg chg="add del mod">
            <ac:chgData name="Remi de Vogel" userId="5948360e-7b9c-4a22-9ada-df5e8b901c82" providerId="ADAL" clId="{848B40CD-DCFD-4256-872E-30365CE333A5}" dt="2022-05-25T13:51:31.077" v="617" actId="478"/>
            <ac:spMkLst>
              <pc:docMk/>
              <pc:sldMasterMk cId="259861064" sldId="2147483648"/>
              <pc:sldLayoutMk cId="2755087783" sldId="2147483663"/>
              <ac:spMk id="16" creationId="{841596D6-D72A-E026-085A-1805FEA8F4E9}"/>
            </ac:spMkLst>
          </pc:spChg>
          <pc:spChg chg="add del mod ord">
            <ac:chgData name="Remi de Vogel" userId="5948360e-7b9c-4a22-9ada-df5e8b901c82" providerId="ADAL" clId="{848B40CD-DCFD-4256-872E-30365CE333A5}" dt="2022-05-25T15:28:14.358" v="825" actId="478"/>
            <ac:spMkLst>
              <pc:docMk/>
              <pc:sldMasterMk cId="259861064" sldId="2147483648"/>
              <pc:sldLayoutMk cId="2755087783" sldId="2147483663"/>
              <ac:spMk id="17" creationId="{B0D9119C-4BA7-044C-2F8F-D7C0FD5B01C8}"/>
            </ac:spMkLst>
          </pc:spChg>
          <pc:spChg chg="add del mod">
            <ac:chgData name="Remi de Vogel" userId="5948360e-7b9c-4a22-9ada-df5e8b901c82" providerId="ADAL" clId="{848B40CD-DCFD-4256-872E-30365CE333A5}" dt="2022-05-25T15:28:17.030" v="827" actId="478"/>
            <ac:spMkLst>
              <pc:docMk/>
              <pc:sldMasterMk cId="259861064" sldId="2147483648"/>
              <pc:sldLayoutMk cId="2755087783" sldId="2147483663"/>
              <ac:spMk id="18" creationId="{2A0D272F-1EBB-9EE7-7FAB-66045E44B217}"/>
            </ac:spMkLst>
          </pc:spChg>
        </pc:sldLayoutChg>
        <pc:sldLayoutChg chg="addSp delSp modSp mod">
          <pc:chgData name="Remi de Vogel" userId="5948360e-7b9c-4a22-9ada-df5e8b901c82" providerId="ADAL" clId="{848B40CD-DCFD-4256-872E-30365CE333A5}" dt="2022-05-25T15:29:54.977" v="866" actId="478"/>
          <pc:sldLayoutMkLst>
            <pc:docMk/>
            <pc:sldMasterMk cId="259861064" sldId="2147483648"/>
            <pc:sldLayoutMk cId="3277208104" sldId="2147483737"/>
          </pc:sldLayoutMkLst>
          <pc:spChg chg="mod">
            <ac:chgData name="Remi de Vogel" userId="5948360e-7b9c-4a22-9ada-df5e8b901c82" providerId="ADAL" clId="{848B40CD-DCFD-4256-872E-30365CE333A5}" dt="2022-05-25T13:55:22.624" v="683" actId="1076"/>
            <ac:spMkLst>
              <pc:docMk/>
              <pc:sldMasterMk cId="259861064" sldId="2147483648"/>
              <pc:sldLayoutMk cId="3277208104" sldId="2147483737"/>
              <ac:spMk id="3" creationId="{00000000-0000-0000-0000-000000000000}"/>
            </ac:spMkLst>
          </pc:spChg>
          <pc:spChg chg="mod">
            <ac:chgData name="Remi de Vogel" userId="5948360e-7b9c-4a22-9ada-df5e8b901c82" providerId="ADAL" clId="{848B40CD-DCFD-4256-872E-30365CE333A5}" dt="2022-05-25T13:55:22.624" v="683" actId="1076"/>
            <ac:spMkLst>
              <pc:docMk/>
              <pc:sldMasterMk cId="259861064" sldId="2147483648"/>
              <pc:sldLayoutMk cId="3277208104" sldId="2147483737"/>
              <ac:spMk id="4" creationId="{00000000-0000-0000-0000-000000000000}"/>
            </ac:spMkLst>
          </pc:spChg>
          <pc:spChg chg="ord">
            <ac:chgData name="Remi de Vogel" userId="5948360e-7b9c-4a22-9ada-df5e8b901c82" providerId="ADAL" clId="{848B40CD-DCFD-4256-872E-30365CE333A5}" dt="2022-05-25T15:02:32.929" v="710" actId="167"/>
            <ac:spMkLst>
              <pc:docMk/>
              <pc:sldMasterMk cId="259861064" sldId="2147483648"/>
              <pc:sldLayoutMk cId="3277208104" sldId="2147483737"/>
              <ac:spMk id="9" creationId="{1A02061F-9C1C-478E-909A-9E6821C07514}"/>
            </ac:spMkLst>
          </pc:spChg>
          <pc:spChg chg="add del mod">
            <ac:chgData name="Remi de Vogel" userId="5948360e-7b9c-4a22-9ada-df5e8b901c82" providerId="ADAL" clId="{848B40CD-DCFD-4256-872E-30365CE333A5}" dt="2022-05-25T15:29:44.728" v="864" actId="478"/>
            <ac:spMkLst>
              <pc:docMk/>
              <pc:sldMasterMk cId="259861064" sldId="2147483648"/>
              <pc:sldLayoutMk cId="3277208104" sldId="2147483737"/>
              <ac:spMk id="10" creationId="{70D61F41-4FE1-DCC4-9DEE-7E9149CA10EE}"/>
            </ac:spMkLst>
          </pc:spChg>
          <pc:spChg chg="add del mod">
            <ac:chgData name="Remi de Vogel" userId="5948360e-7b9c-4a22-9ada-df5e8b901c82" providerId="ADAL" clId="{848B40CD-DCFD-4256-872E-30365CE333A5}" dt="2022-05-25T15:14:45.656" v="814" actId="478"/>
            <ac:spMkLst>
              <pc:docMk/>
              <pc:sldMasterMk cId="259861064" sldId="2147483648"/>
              <pc:sldLayoutMk cId="3277208104" sldId="2147483737"/>
              <ac:spMk id="11" creationId="{D464B41F-22CC-F575-A5CD-AE035611D48E}"/>
            </ac:spMkLst>
          </pc:spChg>
          <pc:spChg chg="add del mod">
            <ac:chgData name="Remi de Vogel" userId="5948360e-7b9c-4a22-9ada-df5e8b901c82" providerId="ADAL" clId="{848B40CD-DCFD-4256-872E-30365CE333A5}" dt="2022-05-25T15:07:53.055" v="775" actId="478"/>
            <ac:spMkLst>
              <pc:docMk/>
              <pc:sldMasterMk cId="259861064" sldId="2147483648"/>
              <pc:sldLayoutMk cId="3277208104" sldId="2147483737"/>
              <ac:spMk id="12" creationId="{75E5ED2C-7A17-8E1E-271E-73FBB80663DE}"/>
            </ac:spMkLst>
          </pc:spChg>
          <pc:spChg chg="add del mod">
            <ac:chgData name="Remi de Vogel" userId="5948360e-7b9c-4a22-9ada-df5e8b901c82" providerId="ADAL" clId="{848B40CD-DCFD-4256-872E-30365CE333A5}" dt="2022-05-25T15:29:54.977" v="866" actId="478"/>
            <ac:spMkLst>
              <pc:docMk/>
              <pc:sldMasterMk cId="259861064" sldId="2147483648"/>
              <pc:sldLayoutMk cId="3277208104" sldId="2147483737"/>
              <ac:spMk id="12" creationId="{C9B253D3-3321-BB0B-6196-1B5F06BBFA76}"/>
            </ac:spMkLst>
          </pc:spChg>
          <pc:spChg chg="add mod">
            <ac:chgData name="Remi de Vogel" userId="5948360e-7b9c-4a22-9ada-df5e8b901c82" providerId="ADAL" clId="{848B40CD-DCFD-4256-872E-30365CE333A5}" dt="2022-05-25T15:29:45.438" v="865"/>
            <ac:spMkLst>
              <pc:docMk/>
              <pc:sldMasterMk cId="259861064" sldId="2147483648"/>
              <pc:sldLayoutMk cId="3277208104" sldId="2147483737"/>
              <ac:spMk id="13" creationId="{166C1C85-3555-D36C-56C6-3F1969769F6D}"/>
            </ac:spMkLst>
          </pc:spChg>
          <pc:spChg chg="add del mod">
            <ac:chgData name="Remi de Vogel" userId="5948360e-7b9c-4a22-9ada-df5e8b901c82" providerId="ADAL" clId="{848B40CD-DCFD-4256-872E-30365CE333A5}" dt="2022-05-25T15:09:27.457" v="792" actId="478"/>
            <ac:spMkLst>
              <pc:docMk/>
              <pc:sldMasterMk cId="259861064" sldId="2147483648"/>
              <pc:sldLayoutMk cId="3277208104" sldId="2147483737"/>
              <ac:spMk id="13" creationId="{23F77D10-AF40-31BB-862D-0AA08A737080}"/>
            </ac:spMkLst>
          </pc:spChg>
          <pc:spChg chg="add del mod">
            <ac:chgData name="Remi de Vogel" userId="5948360e-7b9c-4a22-9ada-df5e8b901c82" providerId="ADAL" clId="{848B40CD-DCFD-4256-872E-30365CE333A5}" dt="2022-05-25T15:29:43.128" v="863" actId="478"/>
            <ac:spMkLst>
              <pc:docMk/>
              <pc:sldMasterMk cId="259861064" sldId="2147483648"/>
              <pc:sldLayoutMk cId="3277208104" sldId="2147483737"/>
              <ac:spMk id="14" creationId="{08F89EAF-718D-89E9-96E3-E1AD980B44C6}"/>
            </ac:spMkLst>
          </pc:spChg>
          <pc:spChg chg="add del mod">
            <ac:chgData name="Remi de Vogel" userId="5948360e-7b9c-4a22-9ada-df5e8b901c82" providerId="ADAL" clId="{848B40CD-DCFD-4256-872E-30365CE333A5}" dt="2022-05-25T15:29:44.728" v="864" actId="478"/>
            <ac:spMkLst>
              <pc:docMk/>
              <pc:sldMasterMk cId="259861064" sldId="2147483648"/>
              <pc:sldLayoutMk cId="3277208104" sldId="2147483737"/>
              <ac:spMk id="16" creationId="{F001E20F-3FA0-7F22-07E0-9CF30D0A1678}"/>
            </ac:spMkLst>
          </pc:spChg>
          <pc:spChg chg="add mod">
            <ac:chgData name="Remi de Vogel" userId="5948360e-7b9c-4a22-9ada-df5e8b901c82" providerId="ADAL" clId="{848B40CD-DCFD-4256-872E-30365CE333A5}" dt="2022-05-25T15:29:45.438" v="865"/>
            <ac:spMkLst>
              <pc:docMk/>
              <pc:sldMasterMk cId="259861064" sldId="2147483648"/>
              <pc:sldLayoutMk cId="3277208104" sldId="2147483737"/>
              <ac:spMk id="17" creationId="{34ED163D-D460-D1CF-4FEF-15C12F1374F3}"/>
            </ac:spMkLst>
          </pc:spChg>
          <pc:spChg chg="add mod">
            <ac:chgData name="Remi de Vogel" userId="5948360e-7b9c-4a22-9ada-df5e8b901c82" providerId="ADAL" clId="{848B40CD-DCFD-4256-872E-30365CE333A5}" dt="2022-05-25T15:29:45.438" v="865"/>
            <ac:spMkLst>
              <pc:docMk/>
              <pc:sldMasterMk cId="259861064" sldId="2147483648"/>
              <pc:sldLayoutMk cId="3277208104" sldId="2147483737"/>
              <ac:spMk id="18" creationId="{A2FEF98D-13F1-8BB6-FE7E-4CAD4C2965A5}"/>
            </ac:spMkLst>
          </pc:spChg>
        </pc:sldLayoutChg>
        <pc:sldLayoutChg chg="addSp delSp modSp mod">
          <pc:chgData name="Remi de Vogel" userId="5948360e-7b9c-4a22-9ada-df5e8b901c82" providerId="ADAL" clId="{848B40CD-DCFD-4256-872E-30365CE333A5}" dt="2022-05-25T13:46:00.698" v="560"/>
          <pc:sldLayoutMkLst>
            <pc:docMk/>
            <pc:sldMasterMk cId="259861064" sldId="2147483648"/>
            <pc:sldLayoutMk cId="3523900727" sldId="2147483742"/>
          </pc:sldLayoutMkLst>
          <pc:spChg chg="add del mod">
            <ac:chgData name="Remi de Vogel" userId="5948360e-7b9c-4a22-9ada-df5e8b901c82" providerId="ADAL" clId="{848B40CD-DCFD-4256-872E-30365CE333A5}" dt="2022-05-25T13:46:00.698" v="560"/>
            <ac:spMkLst>
              <pc:docMk/>
              <pc:sldMasterMk cId="259861064" sldId="2147483648"/>
              <pc:sldLayoutMk cId="3523900727" sldId="2147483742"/>
              <ac:spMk id="8" creationId="{B237F050-F224-0A63-73A1-4811FEAF675F}"/>
            </ac:spMkLst>
          </pc:spChg>
          <pc:spChg chg="add del mod">
            <ac:chgData name="Remi de Vogel" userId="5948360e-7b9c-4a22-9ada-df5e8b901c82" providerId="ADAL" clId="{848B40CD-DCFD-4256-872E-30365CE333A5}" dt="2022-05-25T13:46:00.698" v="560"/>
            <ac:spMkLst>
              <pc:docMk/>
              <pc:sldMasterMk cId="259861064" sldId="2147483648"/>
              <pc:sldLayoutMk cId="3523900727" sldId="2147483742"/>
              <ac:spMk id="9" creationId="{0CC864AB-3CD3-07B2-6EB7-27B52EFC47D0}"/>
            </ac:spMkLst>
          </pc:spChg>
          <pc:spChg chg="mod">
            <ac:chgData name="Remi de Vogel" userId="5948360e-7b9c-4a22-9ada-df5e8b901c82" providerId="ADAL" clId="{848B40CD-DCFD-4256-872E-30365CE333A5}" dt="2022-05-25T13:45:59.009" v="557" actId="14100"/>
            <ac:spMkLst>
              <pc:docMk/>
              <pc:sldMasterMk cId="259861064" sldId="2147483648"/>
              <pc:sldLayoutMk cId="3523900727" sldId="2147483742"/>
              <ac:spMk id="15" creationId="{6FF0F323-E955-4EBB-A84A-C044EEAF1B3D}"/>
            </ac:spMkLst>
          </pc:spChg>
          <pc:spChg chg="mod">
            <ac:chgData name="Remi de Vogel" userId="5948360e-7b9c-4a22-9ada-df5e8b901c82" providerId="ADAL" clId="{848B40CD-DCFD-4256-872E-30365CE333A5}" dt="2022-05-25T13:45:59.009" v="557" actId="14100"/>
            <ac:spMkLst>
              <pc:docMk/>
              <pc:sldMasterMk cId="259861064" sldId="2147483648"/>
              <pc:sldLayoutMk cId="3523900727" sldId="2147483742"/>
              <ac:spMk id="16" creationId="{6DB3F3D9-90D1-47A0-AEB4-F175E30555E6}"/>
            </ac:spMkLst>
          </pc:spChg>
        </pc:sldLayoutChg>
        <pc:sldLayoutChg chg="addSp delSp modSp mod">
          <pc:chgData name="Remi de Vogel" userId="5948360e-7b9c-4a22-9ada-df5e8b901c82" providerId="ADAL" clId="{848B40CD-DCFD-4256-872E-30365CE333A5}" dt="2022-05-25T15:30:15.212" v="874"/>
          <pc:sldLayoutMkLst>
            <pc:docMk/>
            <pc:sldMasterMk cId="259861064" sldId="2147483648"/>
            <pc:sldLayoutMk cId="3673328579" sldId="2147483743"/>
          </pc:sldLayoutMkLst>
          <pc:spChg chg="mod">
            <ac:chgData name="Remi de Vogel" userId="5948360e-7b9c-4a22-9ada-df5e8b901c82" providerId="ADAL" clId="{848B40CD-DCFD-4256-872E-30365CE333A5}" dt="2022-05-25T13:55:43.162" v="688" actId="1076"/>
            <ac:spMkLst>
              <pc:docMk/>
              <pc:sldMasterMk cId="259861064" sldId="2147483648"/>
              <pc:sldLayoutMk cId="3673328579" sldId="2147483743"/>
              <ac:spMk id="2" creationId="{AFA953EF-71EE-4A83-BA3E-0540ECE7D281}"/>
            </ac:spMkLst>
          </pc:spChg>
          <pc:spChg chg="mod">
            <ac:chgData name="Remi de Vogel" userId="5948360e-7b9c-4a22-9ada-df5e8b901c82" providerId="ADAL" clId="{848B40CD-DCFD-4256-872E-30365CE333A5}" dt="2022-05-25T13:55:43.162" v="688" actId="1076"/>
            <ac:spMkLst>
              <pc:docMk/>
              <pc:sldMasterMk cId="259861064" sldId="2147483648"/>
              <pc:sldLayoutMk cId="3673328579" sldId="2147483743"/>
              <ac:spMk id="4" creationId="{061E3E7C-6E15-45F6-832E-2EB88BD7CF6A}"/>
            </ac:spMkLst>
          </pc:spChg>
          <pc:spChg chg="mod">
            <ac:chgData name="Remi de Vogel" userId="5948360e-7b9c-4a22-9ada-df5e8b901c82" providerId="ADAL" clId="{848B40CD-DCFD-4256-872E-30365CE333A5}" dt="2022-05-25T15:30:14.514" v="873" actId="6549"/>
            <ac:spMkLst>
              <pc:docMk/>
              <pc:sldMasterMk cId="259861064" sldId="2147483648"/>
              <pc:sldLayoutMk cId="3673328579" sldId="2147483743"/>
              <ac:spMk id="6" creationId="{048FB5E5-0E9F-4A6C-A2A5-B0558B6C7D6E}"/>
            </ac:spMkLst>
          </pc:spChg>
          <pc:spChg chg="add del mod">
            <ac:chgData name="Remi de Vogel" userId="5948360e-7b9c-4a22-9ada-df5e8b901c82" providerId="ADAL" clId="{848B40CD-DCFD-4256-872E-30365CE333A5}" dt="2022-05-25T15:30:12.462" v="872" actId="478"/>
            <ac:spMkLst>
              <pc:docMk/>
              <pc:sldMasterMk cId="259861064" sldId="2147483648"/>
              <pc:sldLayoutMk cId="3673328579" sldId="2147483743"/>
              <ac:spMk id="8" creationId="{18856C62-3667-9B3B-508D-F477780424A8}"/>
            </ac:spMkLst>
          </pc:spChg>
          <pc:spChg chg="add del mod">
            <ac:chgData name="Remi de Vogel" userId="5948360e-7b9c-4a22-9ada-df5e8b901c82" providerId="ADAL" clId="{848B40CD-DCFD-4256-872E-30365CE333A5}" dt="2022-05-25T15:15:01.497" v="819" actId="478"/>
            <ac:spMkLst>
              <pc:docMk/>
              <pc:sldMasterMk cId="259861064" sldId="2147483648"/>
              <pc:sldLayoutMk cId="3673328579" sldId="2147483743"/>
              <ac:spMk id="9" creationId="{A198478B-4C81-1564-5602-DCA8C9F31B81}"/>
            </ac:spMkLst>
          </pc:spChg>
          <pc:spChg chg="add del mod">
            <ac:chgData name="Remi de Vogel" userId="5948360e-7b9c-4a22-9ada-df5e8b901c82" providerId="ADAL" clId="{848B40CD-DCFD-4256-872E-30365CE333A5}" dt="2022-05-25T15:09:32.591" v="796" actId="478"/>
            <ac:spMkLst>
              <pc:docMk/>
              <pc:sldMasterMk cId="259861064" sldId="2147483648"/>
              <pc:sldLayoutMk cId="3673328579" sldId="2147483743"/>
              <ac:spMk id="10" creationId="{0D67F41C-42A7-5D6D-EE5B-2AEDFD258F06}"/>
            </ac:spMkLst>
          </pc:spChg>
          <pc:spChg chg="add del mod">
            <ac:chgData name="Remi de Vogel" userId="5948360e-7b9c-4a22-9ada-df5e8b901c82" providerId="ADAL" clId="{848B40CD-DCFD-4256-872E-30365CE333A5}" dt="2022-05-25T15:30:10.424" v="871" actId="478"/>
            <ac:spMkLst>
              <pc:docMk/>
              <pc:sldMasterMk cId="259861064" sldId="2147483648"/>
              <pc:sldLayoutMk cId="3673328579" sldId="2147483743"/>
              <ac:spMk id="11" creationId="{51488EF0-B010-F0D2-06DD-F851939BF33A}"/>
            </ac:spMkLst>
          </pc:spChg>
          <pc:spChg chg="add del mod">
            <ac:chgData name="Remi de Vogel" userId="5948360e-7b9c-4a22-9ada-df5e8b901c82" providerId="ADAL" clId="{848B40CD-DCFD-4256-872E-30365CE333A5}" dt="2022-05-25T15:30:12.462" v="872" actId="478"/>
            <ac:spMkLst>
              <pc:docMk/>
              <pc:sldMasterMk cId="259861064" sldId="2147483648"/>
              <pc:sldLayoutMk cId="3673328579" sldId="2147483743"/>
              <ac:spMk id="12" creationId="{59A60E2E-435A-9DB2-5C31-7F4E2BC4475C}"/>
            </ac:spMkLst>
          </pc:spChg>
          <pc:spChg chg="add mod">
            <ac:chgData name="Remi de Vogel" userId="5948360e-7b9c-4a22-9ada-df5e8b901c82" providerId="ADAL" clId="{848B40CD-DCFD-4256-872E-30365CE333A5}" dt="2022-05-25T15:30:15.212" v="874"/>
            <ac:spMkLst>
              <pc:docMk/>
              <pc:sldMasterMk cId="259861064" sldId="2147483648"/>
              <pc:sldLayoutMk cId="3673328579" sldId="2147483743"/>
              <ac:spMk id="13" creationId="{83C15FCD-1FA7-81BD-EBEE-42160B7DBB79}"/>
            </ac:spMkLst>
          </pc:spChg>
          <pc:spChg chg="add mod">
            <ac:chgData name="Remi de Vogel" userId="5948360e-7b9c-4a22-9ada-df5e8b901c82" providerId="ADAL" clId="{848B40CD-DCFD-4256-872E-30365CE333A5}" dt="2022-05-25T15:30:15.212" v="874"/>
            <ac:spMkLst>
              <pc:docMk/>
              <pc:sldMasterMk cId="259861064" sldId="2147483648"/>
              <pc:sldLayoutMk cId="3673328579" sldId="2147483743"/>
              <ac:spMk id="14" creationId="{36CA73AD-2BAA-41EC-1865-078E79D3370F}"/>
            </ac:spMkLst>
          </pc:spChg>
          <pc:spChg chg="add mod">
            <ac:chgData name="Remi de Vogel" userId="5948360e-7b9c-4a22-9ada-df5e8b901c82" providerId="ADAL" clId="{848B40CD-DCFD-4256-872E-30365CE333A5}" dt="2022-05-25T15:30:15.212" v="874"/>
            <ac:spMkLst>
              <pc:docMk/>
              <pc:sldMasterMk cId="259861064" sldId="2147483648"/>
              <pc:sldLayoutMk cId="3673328579" sldId="2147483743"/>
              <ac:spMk id="15" creationId="{44F33819-8AB5-E43D-AE8E-B8B6EC089942}"/>
            </ac:spMkLst>
          </pc:spChg>
          <pc:spChg chg="add mod">
            <ac:chgData name="Remi de Vogel" userId="5948360e-7b9c-4a22-9ada-df5e8b901c82" providerId="ADAL" clId="{848B40CD-DCFD-4256-872E-30365CE333A5}" dt="2022-05-25T15:30:15.212" v="874"/>
            <ac:spMkLst>
              <pc:docMk/>
              <pc:sldMasterMk cId="259861064" sldId="2147483648"/>
              <pc:sldLayoutMk cId="3673328579" sldId="2147483743"/>
              <ac:spMk id="16" creationId="{7D0027EA-FE21-099C-E92E-9DD2F58FEE45}"/>
            </ac:spMkLst>
          </pc:spChg>
        </pc:sldLayoutChg>
        <pc:sldLayoutChg chg="addSp delSp modSp add mod modTransition">
          <pc:chgData name="Remi de Vogel" userId="5948360e-7b9c-4a22-9ada-df5e8b901c82" providerId="ADAL" clId="{848B40CD-DCFD-4256-872E-30365CE333A5}" dt="2022-05-25T15:29:40.174" v="862" actId="207"/>
          <pc:sldLayoutMkLst>
            <pc:docMk/>
            <pc:sldMasterMk cId="259861064" sldId="2147483648"/>
            <pc:sldLayoutMk cId="205761323" sldId="2147483744"/>
          </pc:sldLayoutMkLst>
          <pc:spChg chg="mod">
            <ac:chgData name="Remi de Vogel" userId="5948360e-7b9c-4a22-9ada-df5e8b901c82" providerId="ADAL" clId="{848B40CD-DCFD-4256-872E-30365CE333A5}" dt="2022-05-25T13:28:20.289" v="42" actId="1076"/>
            <ac:spMkLst>
              <pc:docMk/>
              <pc:sldMasterMk cId="259861064" sldId="2147483648"/>
              <pc:sldLayoutMk cId="205761323" sldId="2147483744"/>
              <ac:spMk id="3" creationId="{00000000-0000-0000-0000-000000000000}"/>
            </ac:spMkLst>
          </pc:spChg>
          <pc:spChg chg="mod">
            <ac:chgData name="Remi de Vogel" userId="5948360e-7b9c-4a22-9ada-df5e8b901c82" providerId="ADAL" clId="{848B40CD-DCFD-4256-872E-30365CE333A5}" dt="2022-05-25T13:55:03.116" v="678" actId="1076"/>
            <ac:spMkLst>
              <pc:docMk/>
              <pc:sldMasterMk cId="259861064" sldId="2147483648"/>
              <pc:sldLayoutMk cId="205761323" sldId="2147483744"/>
              <ac:spMk id="4" creationId="{00000000-0000-0000-0000-000000000000}"/>
            </ac:spMkLst>
          </pc:spChg>
          <pc:spChg chg="mod">
            <ac:chgData name="Remi de Vogel" userId="5948360e-7b9c-4a22-9ada-df5e8b901c82" providerId="ADAL" clId="{848B40CD-DCFD-4256-872E-30365CE333A5}" dt="2022-05-25T13:55:03.116" v="678" actId="1076"/>
            <ac:spMkLst>
              <pc:docMk/>
              <pc:sldMasterMk cId="259861064" sldId="2147483648"/>
              <pc:sldLayoutMk cId="205761323" sldId="2147483744"/>
              <ac:spMk id="5" creationId="{00000000-0000-0000-0000-000000000000}"/>
            </ac:spMkLst>
          </pc:spChg>
          <pc:spChg chg="mod">
            <ac:chgData name="Remi de Vogel" userId="5948360e-7b9c-4a22-9ada-df5e8b901c82" providerId="ADAL" clId="{848B40CD-DCFD-4256-872E-30365CE333A5}" dt="2022-05-25T13:28:28.890" v="44" actId="207"/>
            <ac:spMkLst>
              <pc:docMk/>
              <pc:sldMasterMk cId="259861064" sldId="2147483648"/>
              <pc:sldLayoutMk cId="205761323" sldId="2147483744"/>
              <ac:spMk id="6" creationId="{00000000-0000-0000-0000-000000000000}"/>
            </ac:spMkLst>
          </pc:spChg>
          <pc:spChg chg="add del mod">
            <ac:chgData name="Remi de Vogel" userId="5948360e-7b9c-4a22-9ada-df5e8b901c82" providerId="ADAL" clId="{848B40CD-DCFD-4256-872E-30365CE333A5}" dt="2022-05-25T13:28:03.214" v="4"/>
            <ac:spMkLst>
              <pc:docMk/>
              <pc:sldMasterMk cId="259861064" sldId="2147483648"/>
              <pc:sldLayoutMk cId="205761323" sldId="2147483744"/>
              <ac:spMk id="10" creationId="{8814327B-B679-6070-9370-D938465115D1}"/>
            </ac:spMkLst>
          </pc:spChg>
          <pc:spChg chg="add del mod">
            <ac:chgData name="Remi de Vogel" userId="5948360e-7b9c-4a22-9ada-df5e8b901c82" providerId="ADAL" clId="{848B40CD-DCFD-4256-872E-30365CE333A5}" dt="2022-05-25T13:28:04.320" v="6"/>
            <ac:spMkLst>
              <pc:docMk/>
              <pc:sldMasterMk cId="259861064" sldId="2147483648"/>
              <pc:sldLayoutMk cId="205761323" sldId="2147483744"/>
              <ac:spMk id="13" creationId="{36DC8FED-B375-07DD-4295-CC6BE546BA5F}"/>
            </ac:spMkLst>
          </pc:spChg>
          <pc:spChg chg="add mod ord">
            <ac:chgData name="Remi de Vogel" userId="5948360e-7b9c-4a22-9ada-df5e8b901c82" providerId="ADAL" clId="{848B40CD-DCFD-4256-872E-30365CE333A5}" dt="2022-05-25T13:28:20.143" v="41" actId="167"/>
            <ac:spMkLst>
              <pc:docMk/>
              <pc:sldMasterMk cId="259861064" sldId="2147483648"/>
              <pc:sldLayoutMk cId="205761323" sldId="2147483744"/>
              <ac:spMk id="14" creationId="{CB04650A-508B-4879-70D9-BE1C1741DA4B}"/>
            </ac:spMkLst>
          </pc:spChg>
          <pc:spChg chg="del">
            <ac:chgData name="Remi de Vogel" userId="5948360e-7b9c-4a22-9ada-df5e8b901c82" providerId="ADAL" clId="{848B40CD-DCFD-4256-872E-30365CE333A5}" dt="2022-05-25T13:28:23.407" v="43" actId="478"/>
            <ac:spMkLst>
              <pc:docMk/>
              <pc:sldMasterMk cId="259861064" sldId="2147483648"/>
              <pc:sldLayoutMk cId="205761323" sldId="2147483744"/>
              <ac:spMk id="15" creationId="{21772525-22CD-4042-886C-E9DBDB7CD00A}"/>
            </ac:spMkLst>
          </pc:spChg>
          <pc:spChg chg="add del mod">
            <ac:chgData name="Remi de Vogel" userId="5948360e-7b9c-4a22-9ada-df5e8b901c82" providerId="ADAL" clId="{848B40CD-DCFD-4256-872E-30365CE333A5}" dt="2022-05-25T15:29:27.989" v="859" actId="478"/>
            <ac:spMkLst>
              <pc:docMk/>
              <pc:sldMasterMk cId="259861064" sldId="2147483648"/>
              <pc:sldLayoutMk cId="205761323" sldId="2147483744"/>
              <ac:spMk id="15" creationId="{6094B505-CEFA-5D9E-D726-3069F5D53328}"/>
            </ac:spMkLst>
          </pc:spChg>
          <pc:spChg chg="add mod">
            <ac:chgData name="Remi de Vogel" userId="5948360e-7b9c-4a22-9ada-df5e8b901c82" providerId="ADAL" clId="{848B40CD-DCFD-4256-872E-30365CE333A5}" dt="2022-05-25T15:29:29.703" v="860" actId="6549"/>
            <ac:spMkLst>
              <pc:docMk/>
              <pc:sldMasterMk cId="259861064" sldId="2147483648"/>
              <pc:sldLayoutMk cId="205761323" sldId="2147483744"/>
              <ac:spMk id="16" creationId="{EB4DB779-754D-F1F1-8B71-54C154BD3CF8}"/>
            </ac:spMkLst>
          </pc:spChg>
          <pc:spChg chg="add del mod ord">
            <ac:chgData name="Remi de Vogel" userId="5948360e-7b9c-4a22-9ada-df5e8b901c82" providerId="ADAL" clId="{848B40CD-DCFD-4256-872E-30365CE333A5}" dt="2022-05-25T15:29:27.989" v="859" actId="478"/>
            <ac:spMkLst>
              <pc:docMk/>
              <pc:sldMasterMk cId="259861064" sldId="2147483648"/>
              <pc:sldLayoutMk cId="205761323" sldId="2147483744"/>
              <ac:spMk id="17" creationId="{5286A009-AF69-F24A-5B38-E77666C428E1}"/>
            </ac:spMkLst>
          </pc:spChg>
          <pc:spChg chg="add mod">
            <ac:chgData name="Remi de Vogel" userId="5948360e-7b9c-4a22-9ada-df5e8b901c82" providerId="ADAL" clId="{848B40CD-DCFD-4256-872E-30365CE333A5}" dt="2022-05-25T15:29:31.371" v="861"/>
            <ac:spMkLst>
              <pc:docMk/>
              <pc:sldMasterMk cId="259861064" sldId="2147483648"/>
              <pc:sldLayoutMk cId="205761323" sldId="2147483744"/>
              <ac:spMk id="18" creationId="{7815CD76-18B1-1419-662B-0C3B37815692}"/>
            </ac:spMkLst>
          </pc:spChg>
          <pc:spChg chg="add del mod ord">
            <ac:chgData name="Remi de Vogel" userId="5948360e-7b9c-4a22-9ada-df5e8b901c82" providerId="ADAL" clId="{848B40CD-DCFD-4256-872E-30365CE333A5}" dt="2022-05-25T15:14:37.986" v="811" actId="478"/>
            <ac:spMkLst>
              <pc:docMk/>
              <pc:sldMasterMk cId="259861064" sldId="2147483648"/>
              <pc:sldLayoutMk cId="205761323" sldId="2147483744"/>
              <ac:spMk id="18" creationId="{C9A3B641-49F2-F961-1E8C-BA46CCE22157}"/>
            </ac:spMkLst>
          </pc:spChg>
          <pc:spChg chg="add del mod">
            <ac:chgData name="Remi de Vogel" userId="5948360e-7b9c-4a22-9ada-df5e8b901c82" providerId="ADAL" clId="{848B40CD-DCFD-4256-872E-30365CE333A5}" dt="2022-05-25T15:29:23.927" v="858" actId="478"/>
            <ac:spMkLst>
              <pc:docMk/>
              <pc:sldMasterMk cId="259861064" sldId="2147483648"/>
              <pc:sldLayoutMk cId="205761323" sldId="2147483744"/>
              <ac:spMk id="19" creationId="{B63F9DF1-7B30-DB72-C3C9-9650886BA7E5}"/>
            </ac:spMkLst>
          </pc:spChg>
          <pc:spChg chg="add mod">
            <ac:chgData name="Remi de Vogel" userId="5948360e-7b9c-4a22-9ada-df5e8b901c82" providerId="ADAL" clId="{848B40CD-DCFD-4256-872E-30365CE333A5}" dt="2022-05-25T15:29:40.174" v="862" actId="207"/>
            <ac:spMkLst>
              <pc:docMk/>
              <pc:sldMasterMk cId="259861064" sldId="2147483648"/>
              <pc:sldLayoutMk cId="205761323" sldId="2147483744"/>
              <ac:spMk id="20" creationId="{794188CD-14F7-242F-E5A0-4CE6D4EEB584}"/>
            </ac:spMkLst>
          </pc:spChg>
          <pc:spChg chg="add mod">
            <ac:chgData name="Remi de Vogel" userId="5948360e-7b9c-4a22-9ada-df5e8b901c82" providerId="ADAL" clId="{848B40CD-DCFD-4256-872E-30365CE333A5}" dt="2022-05-25T15:29:40.174" v="862" actId="207"/>
            <ac:spMkLst>
              <pc:docMk/>
              <pc:sldMasterMk cId="259861064" sldId="2147483648"/>
              <pc:sldLayoutMk cId="205761323" sldId="2147483744"/>
              <ac:spMk id="21" creationId="{4C0546B1-1883-F756-335D-7BC8F3FF8D0C}"/>
            </ac:spMkLst>
          </pc:spChg>
          <pc:spChg chg="add mod">
            <ac:chgData name="Remi de Vogel" userId="5948360e-7b9c-4a22-9ada-df5e8b901c82" providerId="ADAL" clId="{848B40CD-DCFD-4256-872E-30365CE333A5}" dt="2022-05-25T15:29:40.174" v="862" actId="207"/>
            <ac:spMkLst>
              <pc:docMk/>
              <pc:sldMasterMk cId="259861064" sldId="2147483648"/>
              <pc:sldLayoutMk cId="205761323" sldId="2147483744"/>
              <ac:spMk id="22" creationId="{C7F815EF-48FD-1BA9-1095-4CD4EFAFAE20}"/>
            </ac:spMkLst>
          </pc:spChg>
        </pc:sldLayoutChg>
        <pc:sldLayoutChg chg="addSp delSp modSp add mod modTransition">
          <pc:chgData name="Remi de Vogel" userId="5948360e-7b9c-4a22-9ada-df5e8b901c82" providerId="ADAL" clId="{848B40CD-DCFD-4256-872E-30365CE333A5}" dt="2022-05-25T15:29:06.574" v="851" actId="478"/>
          <pc:sldLayoutMkLst>
            <pc:docMk/>
            <pc:sldMasterMk cId="259861064" sldId="2147483648"/>
            <pc:sldLayoutMk cId="839302732" sldId="2147483745"/>
          </pc:sldLayoutMkLst>
          <pc:spChg chg="mod">
            <ac:chgData name="Remi de Vogel" userId="5948360e-7b9c-4a22-9ada-df5e8b901c82" providerId="ADAL" clId="{848B40CD-DCFD-4256-872E-30365CE333A5}" dt="2022-05-25T13:54:28.226" v="662" actId="1076"/>
            <ac:spMkLst>
              <pc:docMk/>
              <pc:sldMasterMk cId="259861064" sldId="2147483648"/>
              <pc:sldLayoutMk cId="839302732" sldId="2147483745"/>
              <ac:spMk id="4" creationId="{00000000-0000-0000-0000-000000000000}"/>
            </ac:spMkLst>
          </pc:spChg>
          <pc:spChg chg="mod">
            <ac:chgData name="Remi de Vogel" userId="5948360e-7b9c-4a22-9ada-df5e8b901c82" providerId="ADAL" clId="{848B40CD-DCFD-4256-872E-30365CE333A5}" dt="2022-05-25T13:54:28.226" v="662" actId="1076"/>
            <ac:spMkLst>
              <pc:docMk/>
              <pc:sldMasterMk cId="259861064" sldId="2147483648"/>
              <pc:sldLayoutMk cId="839302732" sldId="2147483745"/>
              <ac:spMk id="5" creationId="{00000000-0000-0000-0000-000000000000}"/>
            </ac:spMkLst>
          </pc:spChg>
          <pc:spChg chg="add mod ord">
            <ac:chgData name="Remi de Vogel" userId="5948360e-7b9c-4a22-9ada-df5e8b901c82" providerId="ADAL" clId="{848B40CD-DCFD-4256-872E-30365CE333A5}" dt="2022-05-25T15:08:47.109" v="785" actId="167"/>
            <ac:spMkLst>
              <pc:docMk/>
              <pc:sldMasterMk cId="259861064" sldId="2147483648"/>
              <pc:sldLayoutMk cId="839302732" sldId="2147483745"/>
              <ac:spMk id="10" creationId="{D246A473-48A0-954F-BA29-6E5C7166F083}"/>
            </ac:spMkLst>
          </pc:spChg>
          <pc:spChg chg="add del mod">
            <ac:chgData name="Remi de Vogel" userId="5948360e-7b9c-4a22-9ada-df5e8b901c82" providerId="ADAL" clId="{848B40CD-DCFD-4256-872E-30365CE333A5}" dt="2022-05-25T15:29:03.281" v="849" actId="478"/>
            <ac:spMkLst>
              <pc:docMk/>
              <pc:sldMasterMk cId="259861064" sldId="2147483648"/>
              <pc:sldLayoutMk cId="839302732" sldId="2147483745"/>
              <ac:spMk id="13" creationId="{B75A21A4-20F3-3DDE-9464-51C148E4B8F0}"/>
            </ac:spMkLst>
          </pc:spChg>
          <pc:spChg chg="add del mod">
            <ac:chgData name="Remi de Vogel" userId="5948360e-7b9c-4a22-9ada-df5e8b901c82" providerId="ADAL" clId="{848B40CD-DCFD-4256-872E-30365CE333A5}" dt="2022-05-25T15:14:27.562" v="809" actId="478"/>
            <ac:spMkLst>
              <pc:docMk/>
              <pc:sldMasterMk cId="259861064" sldId="2147483648"/>
              <pc:sldLayoutMk cId="839302732" sldId="2147483745"/>
              <ac:spMk id="14" creationId="{547A1706-6EB7-E298-1AC0-A9CDCF134FD1}"/>
            </ac:spMkLst>
          </pc:spChg>
          <pc:spChg chg="add del mod">
            <ac:chgData name="Remi de Vogel" userId="5948360e-7b9c-4a22-9ada-df5e8b901c82" providerId="ADAL" clId="{848B40CD-DCFD-4256-872E-30365CE333A5}" dt="2022-05-25T15:29:06.574" v="851" actId="478"/>
            <ac:spMkLst>
              <pc:docMk/>
              <pc:sldMasterMk cId="259861064" sldId="2147483648"/>
              <pc:sldLayoutMk cId="839302732" sldId="2147483745"/>
              <ac:spMk id="14" creationId="{554BA4AC-3097-D23F-A065-40E724688605}"/>
            </ac:spMkLst>
          </pc:spChg>
          <pc:spChg chg="del mod">
            <ac:chgData name="Remi de Vogel" userId="5948360e-7b9c-4a22-9ada-df5e8b901c82" providerId="ADAL" clId="{848B40CD-DCFD-4256-872E-30365CE333A5}" dt="2022-05-25T13:32:07.997" v="90" actId="478"/>
            <ac:spMkLst>
              <pc:docMk/>
              <pc:sldMasterMk cId="259861064" sldId="2147483648"/>
              <pc:sldLayoutMk cId="839302732" sldId="2147483745"/>
              <ac:spMk id="15" creationId="{21772525-22CD-4042-886C-E9DBDB7CD00A}"/>
            </ac:spMkLst>
          </pc:spChg>
          <pc:spChg chg="add del mod">
            <ac:chgData name="Remi de Vogel" userId="5948360e-7b9c-4a22-9ada-df5e8b901c82" providerId="ADAL" clId="{848B40CD-DCFD-4256-872E-30365CE333A5}" dt="2022-05-25T15:28:59.486" v="848" actId="478"/>
            <ac:spMkLst>
              <pc:docMk/>
              <pc:sldMasterMk cId="259861064" sldId="2147483648"/>
              <pc:sldLayoutMk cId="839302732" sldId="2147483745"/>
              <ac:spMk id="15" creationId="{3C35B4D0-5D3A-5D5A-403A-08734A66B858}"/>
            </ac:spMkLst>
          </pc:spChg>
          <pc:spChg chg="add mod">
            <ac:chgData name="Remi de Vogel" userId="5948360e-7b9c-4a22-9ada-df5e8b901c82" providerId="ADAL" clId="{848B40CD-DCFD-4256-872E-30365CE333A5}" dt="2022-05-25T15:29:03.712" v="850"/>
            <ac:spMkLst>
              <pc:docMk/>
              <pc:sldMasterMk cId="259861064" sldId="2147483648"/>
              <pc:sldLayoutMk cId="839302732" sldId="2147483745"/>
              <ac:spMk id="16" creationId="{C3DBF0AE-1761-E2E3-E8D6-BD415F517C49}"/>
            </ac:spMkLst>
          </pc:spChg>
          <pc:spChg chg="add del mod">
            <ac:chgData name="Remi de Vogel" userId="5948360e-7b9c-4a22-9ada-df5e8b901c82" providerId="ADAL" clId="{848B40CD-DCFD-4256-872E-30365CE333A5}" dt="2022-05-25T15:09:10.324" v="786" actId="478"/>
            <ac:spMkLst>
              <pc:docMk/>
              <pc:sldMasterMk cId="259861064" sldId="2147483648"/>
              <pc:sldLayoutMk cId="839302732" sldId="2147483745"/>
              <ac:spMk id="16" creationId="{DCE88F43-710D-C88F-1823-52C938DECF74}"/>
            </ac:spMkLst>
          </pc:spChg>
          <pc:spChg chg="add del mod">
            <ac:chgData name="Remi de Vogel" userId="5948360e-7b9c-4a22-9ada-df5e8b901c82" providerId="ADAL" clId="{848B40CD-DCFD-4256-872E-30365CE333A5}" dt="2022-05-25T15:29:03.281" v="849" actId="478"/>
            <ac:spMkLst>
              <pc:docMk/>
              <pc:sldMasterMk cId="259861064" sldId="2147483648"/>
              <pc:sldLayoutMk cId="839302732" sldId="2147483745"/>
              <ac:spMk id="17" creationId="{43098471-B0CD-6357-62C2-6AD65526D6B9}"/>
            </ac:spMkLst>
          </pc:spChg>
          <pc:spChg chg="add mod">
            <ac:chgData name="Remi de Vogel" userId="5948360e-7b9c-4a22-9ada-df5e8b901c82" providerId="ADAL" clId="{848B40CD-DCFD-4256-872E-30365CE333A5}" dt="2022-05-25T15:29:03.712" v="850"/>
            <ac:spMkLst>
              <pc:docMk/>
              <pc:sldMasterMk cId="259861064" sldId="2147483648"/>
              <pc:sldLayoutMk cId="839302732" sldId="2147483745"/>
              <ac:spMk id="18" creationId="{C417F508-F498-EE48-49E7-4C56CAB6E043}"/>
            </ac:spMkLst>
          </pc:spChg>
          <pc:spChg chg="add mod">
            <ac:chgData name="Remi de Vogel" userId="5948360e-7b9c-4a22-9ada-df5e8b901c82" providerId="ADAL" clId="{848B40CD-DCFD-4256-872E-30365CE333A5}" dt="2022-05-25T15:29:03.712" v="850"/>
            <ac:spMkLst>
              <pc:docMk/>
              <pc:sldMasterMk cId="259861064" sldId="2147483648"/>
              <pc:sldLayoutMk cId="839302732" sldId="2147483745"/>
              <ac:spMk id="19" creationId="{621C2410-DCAF-6FAE-678A-EC767B81D69C}"/>
            </ac:spMkLst>
          </pc:spChg>
        </pc:sldLayoutChg>
        <pc:sldLayoutChg chg="addSp delSp modSp add mod modTransition">
          <pc:chgData name="Remi de Vogel" userId="5948360e-7b9c-4a22-9ada-df5e8b901c82" providerId="ADAL" clId="{848B40CD-DCFD-4256-872E-30365CE333A5}" dt="2022-05-25T15:28:57.438" v="847" actId="478"/>
          <pc:sldLayoutMkLst>
            <pc:docMk/>
            <pc:sldMasterMk cId="259861064" sldId="2147483648"/>
            <pc:sldLayoutMk cId="1542828283" sldId="2147483746"/>
          </pc:sldLayoutMkLst>
          <pc:spChg chg="mod">
            <ac:chgData name="Remi de Vogel" userId="5948360e-7b9c-4a22-9ada-df5e8b901c82" providerId="ADAL" clId="{848B40CD-DCFD-4256-872E-30365CE333A5}" dt="2022-05-25T13:53:41.216" v="655" actId="1076"/>
            <ac:spMkLst>
              <pc:docMk/>
              <pc:sldMasterMk cId="259861064" sldId="2147483648"/>
              <pc:sldLayoutMk cId="1542828283" sldId="2147483746"/>
              <ac:spMk id="4" creationId="{00000000-0000-0000-0000-000000000000}"/>
            </ac:spMkLst>
          </pc:spChg>
          <pc:spChg chg="mod">
            <ac:chgData name="Remi de Vogel" userId="5948360e-7b9c-4a22-9ada-df5e8b901c82" providerId="ADAL" clId="{848B40CD-DCFD-4256-872E-30365CE333A5}" dt="2022-05-25T13:53:41.216" v="655" actId="1076"/>
            <ac:spMkLst>
              <pc:docMk/>
              <pc:sldMasterMk cId="259861064" sldId="2147483648"/>
              <pc:sldLayoutMk cId="1542828283" sldId="2147483746"/>
              <ac:spMk id="5" creationId="{00000000-0000-0000-0000-000000000000}"/>
            </ac:spMkLst>
          </pc:spChg>
          <pc:spChg chg="add mod ord">
            <ac:chgData name="Remi de Vogel" userId="5948360e-7b9c-4a22-9ada-df5e8b901c82" providerId="ADAL" clId="{848B40CD-DCFD-4256-872E-30365CE333A5}" dt="2022-05-25T13:33:33.149" v="152" actId="167"/>
            <ac:spMkLst>
              <pc:docMk/>
              <pc:sldMasterMk cId="259861064" sldId="2147483648"/>
              <pc:sldLayoutMk cId="1542828283" sldId="2147483746"/>
              <ac:spMk id="10" creationId="{018259D4-71A4-F05E-FBC9-DA97D7DB1389}"/>
            </ac:spMkLst>
          </pc:spChg>
          <pc:spChg chg="add del mod">
            <ac:chgData name="Remi de Vogel" userId="5948360e-7b9c-4a22-9ada-df5e8b901c82" providerId="ADAL" clId="{848B40CD-DCFD-4256-872E-30365CE333A5}" dt="2022-05-25T15:28:57.438" v="847" actId="478"/>
            <ac:spMkLst>
              <pc:docMk/>
              <pc:sldMasterMk cId="259861064" sldId="2147483648"/>
              <pc:sldLayoutMk cId="1542828283" sldId="2147483746"/>
              <ac:spMk id="13" creationId="{9CED4874-9539-D562-79B9-8EC863FB2EBE}"/>
            </ac:spMkLst>
          </pc:spChg>
          <pc:spChg chg="add del mod">
            <ac:chgData name="Remi de Vogel" userId="5948360e-7b9c-4a22-9ada-df5e8b901c82" providerId="ADAL" clId="{848B40CD-DCFD-4256-872E-30365CE333A5}" dt="2022-05-25T13:54:10.664" v="657"/>
            <ac:spMkLst>
              <pc:docMk/>
              <pc:sldMasterMk cId="259861064" sldId="2147483648"/>
              <pc:sldLayoutMk cId="1542828283" sldId="2147483746"/>
              <ac:spMk id="13" creationId="{9F592361-72B5-9CE0-0727-11F1010F1A69}"/>
            </ac:spMkLst>
          </pc:spChg>
          <pc:spChg chg="add del mod">
            <ac:chgData name="Remi de Vogel" userId="5948360e-7b9c-4a22-9ada-df5e8b901c82" providerId="ADAL" clId="{848B40CD-DCFD-4256-872E-30365CE333A5}" dt="2022-05-25T15:28:57.438" v="847" actId="478"/>
            <ac:spMkLst>
              <pc:docMk/>
              <pc:sldMasterMk cId="259861064" sldId="2147483648"/>
              <pc:sldLayoutMk cId="1542828283" sldId="2147483746"/>
              <ac:spMk id="14" creationId="{A27958BA-2C6D-410D-B37E-A716BB0063E5}"/>
            </ac:spMkLst>
          </pc:spChg>
          <pc:spChg chg="add del mod">
            <ac:chgData name="Remi de Vogel" userId="5948360e-7b9c-4a22-9ada-df5e8b901c82" providerId="ADAL" clId="{848B40CD-DCFD-4256-872E-30365CE333A5}" dt="2022-05-25T13:54:10.664" v="657"/>
            <ac:spMkLst>
              <pc:docMk/>
              <pc:sldMasterMk cId="259861064" sldId="2147483648"/>
              <pc:sldLayoutMk cId="1542828283" sldId="2147483746"/>
              <ac:spMk id="14" creationId="{F50A8A58-4F3C-629C-114B-738EBE99AE93}"/>
            </ac:spMkLst>
          </pc:spChg>
          <pc:spChg chg="del">
            <ac:chgData name="Remi de Vogel" userId="5948360e-7b9c-4a22-9ada-df5e8b901c82" providerId="ADAL" clId="{848B40CD-DCFD-4256-872E-30365CE333A5}" dt="2022-05-25T13:33:30.653" v="127" actId="478"/>
            <ac:spMkLst>
              <pc:docMk/>
              <pc:sldMasterMk cId="259861064" sldId="2147483648"/>
              <pc:sldLayoutMk cId="1542828283" sldId="2147483746"/>
              <ac:spMk id="15" creationId="{21772525-22CD-4042-886C-E9DBDB7CD00A}"/>
            </ac:spMkLst>
          </pc:spChg>
          <pc:spChg chg="add mod">
            <ac:chgData name="Remi de Vogel" userId="5948360e-7b9c-4a22-9ada-df5e8b901c82" providerId="ADAL" clId="{848B40CD-DCFD-4256-872E-30365CE333A5}" dt="2022-05-25T15:28:56.003" v="846"/>
            <ac:spMkLst>
              <pc:docMk/>
              <pc:sldMasterMk cId="259861064" sldId="2147483648"/>
              <pc:sldLayoutMk cId="1542828283" sldId="2147483746"/>
              <ac:spMk id="15" creationId="{ED60FF70-CD89-F7C8-0D15-BC52E8E5FA7C}"/>
            </ac:spMkLst>
          </pc:spChg>
          <pc:spChg chg="add del mod">
            <ac:chgData name="Remi de Vogel" userId="5948360e-7b9c-4a22-9ada-df5e8b901c82" providerId="ADAL" clId="{848B40CD-DCFD-4256-872E-30365CE333A5}" dt="2022-05-25T15:28:57.438" v="847" actId="478"/>
            <ac:spMkLst>
              <pc:docMk/>
              <pc:sldMasterMk cId="259861064" sldId="2147483648"/>
              <pc:sldLayoutMk cId="1542828283" sldId="2147483746"/>
              <ac:spMk id="16" creationId="{6C484184-3CA8-6E47-B302-C9409081E515}"/>
            </ac:spMkLst>
          </pc:spChg>
          <pc:spChg chg="add del mod">
            <ac:chgData name="Remi de Vogel" userId="5948360e-7b9c-4a22-9ada-df5e8b901c82" providerId="ADAL" clId="{848B40CD-DCFD-4256-872E-30365CE333A5}" dt="2022-05-25T13:54:10.664" v="657"/>
            <ac:spMkLst>
              <pc:docMk/>
              <pc:sldMasterMk cId="259861064" sldId="2147483648"/>
              <pc:sldLayoutMk cId="1542828283" sldId="2147483746"/>
              <ac:spMk id="16" creationId="{7835CD21-B6FC-0854-F587-6FC086E4CB11}"/>
            </ac:spMkLst>
          </pc:spChg>
          <pc:spChg chg="add del mod">
            <ac:chgData name="Remi de Vogel" userId="5948360e-7b9c-4a22-9ada-df5e8b901c82" providerId="ADAL" clId="{848B40CD-DCFD-4256-872E-30365CE333A5}" dt="2022-05-25T13:54:20.860" v="661" actId="478"/>
            <ac:spMkLst>
              <pc:docMk/>
              <pc:sldMasterMk cId="259861064" sldId="2147483648"/>
              <pc:sldLayoutMk cId="1542828283" sldId="2147483746"/>
              <ac:spMk id="17" creationId="{4628E22C-42F6-0CCA-6B5B-47AA4B48C3EF}"/>
            </ac:spMkLst>
          </pc:spChg>
          <pc:spChg chg="add del mod">
            <ac:chgData name="Remi de Vogel" userId="5948360e-7b9c-4a22-9ada-df5e8b901c82" providerId="ADAL" clId="{848B40CD-DCFD-4256-872E-30365CE333A5}" dt="2022-05-25T13:54:20.860" v="661" actId="478"/>
            <ac:spMkLst>
              <pc:docMk/>
              <pc:sldMasterMk cId="259861064" sldId="2147483648"/>
              <pc:sldLayoutMk cId="1542828283" sldId="2147483746"/>
              <ac:spMk id="18" creationId="{E8CE9034-EB75-7867-E470-07BAAEB64EF0}"/>
            </ac:spMkLst>
          </pc:spChg>
          <pc:spChg chg="add del mod">
            <ac:chgData name="Remi de Vogel" userId="5948360e-7b9c-4a22-9ada-df5e8b901c82" providerId="ADAL" clId="{848B40CD-DCFD-4256-872E-30365CE333A5}" dt="2022-05-25T15:28:55.318" v="845" actId="478"/>
            <ac:spMkLst>
              <pc:docMk/>
              <pc:sldMasterMk cId="259861064" sldId="2147483648"/>
              <pc:sldLayoutMk cId="1542828283" sldId="2147483746"/>
              <ac:spMk id="19" creationId="{780EA5F1-8E8B-F5A2-E7CB-AC715DC96C0E}"/>
            </ac:spMkLst>
          </pc:spChg>
        </pc:sldLayoutChg>
        <pc:sldLayoutChg chg="addSp delSp modSp add mod modTransition">
          <pc:chgData name="Remi de Vogel" userId="5948360e-7b9c-4a22-9ada-df5e8b901c82" providerId="ADAL" clId="{848B40CD-DCFD-4256-872E-30365CE333A5}" dt="2022-05-25T15:29:20.687" v="857" actId="478"/>
          <pc:sldLayoutMkLst>
            <pc:docMk/>
            <pc:sldMasterMk cId="259861064" sldId="2147483648"/>
            <pc:sldLayoutMk cId="1771150605" sldId="2147483747"/>
          </pc:sldLayoutMkLst>
          <pc:spChg chg="mod">
            <ac:chgData name="Remi de Vogel" userId="5948360e-7b9c-4a22-9ada-df5e8b901c82" providerId="ADAL" clId="{848B40CD-DCFD-4256-872E-30365CE333A5}" dt="2022-05-25T13:34:24.240" v="172" actId="14100"/>
            <ac:spMkLst>
              <pc:docMk/>
              <pc:sldMasterMk cId="259861064" sldId="2147483648"/>
              <pc:sldLayoutMk cId="1771150605" sldId="2147483747"/>
              <ac:spMk id="3" creationId="{00000000-0000-0000-0000-000000000000}"/>
            </ac:spMkLst>
          </pc:spChg>
          <pc:spChg chg="mod">
            <ac:chgData name="Remi de Vogel" userId="5948360e-7b9c-4a22-9ada-df5e8b901c82" providerId="ADAL" clId="{848B40CD-DCFD-4256-872E-30365CE333A5}" dt="2022-05-25T13:54:54.393" v="674" actId="1076"/>
            <ac:spMkLst>
              <pc:docMk/>
              <pc:sldMasterMk cId="259861064" sldId="2147483648"/>
              <pc:sldLayoutMk cId="1771150605" sldId="2147483747"/>
              <ac:spMk id="4" creationId="{00000000-0000-0000-0000-000000000000}"/>
            </ac:spMkLst>
          </pc:spChg>
          <pc:spChg chg="mod">
            <ac:chgData name="Remi de Vogel" userId="5948360e-7b9c-4a22-9ada-df5e8b901c82" providerId="ADAL" clId="{848B40CD-DCFD-4256-872E-30365CE333A5}" dt="2022-05-25T13:54:54.393" v="674" actId="1076"/>
            <ac:spMkLst>
              <pc:docMk/>
              <pc:sldMasterMk cId="259861064" sldId="2147483648"/>
              <pc:sldLayoutMk cId="1771150605" sldId="2147483747"/>
              <ac:spMk id="5" creationId="{00000000-0000-0000-0000-000000000000}"/>
            </ac:spMkLst>
          </pc:spChg>
          <pc:spChg chg="del mod">
            <ac:chgData name="Remi de Vogel" userId="5948360e-7b9c-4a22-9ada-df5e8b901c82" providerId="ADAL" clId="{848B40CD-DCFD-4256-872E-30365CE333A5}" dt="2022-05-25T13:34:18.365" v="163" actId="478"/>
            <ac:spMkLst>
              <pc:docMk/>
              <pc:sldMasterMk cId="259861064" sldId="2147483648"/>
              <pc:sldLayoutMk cId="1771150605" sldId="2147483747"/>
              <ac:spMk id="10" creationId="{D246A473-48A0-954F-BA29-6E5C7166F083}"/>
            </ac:spMkLst>
          </pc:spChg>
          <pc:spChg chg="add mod ord">
            <ac:chgData name="Remi de Vogel" userId="5948360e-7b9c-4a22-9ada-df5e8b901c82" providerId="ADAL" clId="{848B40CD-DCFD-4256-872E-30365CE333A5}" dt="2022-05-25T13:34:21.033" v="171" actId="167"/>
            <ac:spMkLst>
              <pc:docMk/>
              <pc:sldMasterMk cId="259861064" sldId="2147483648"/>
              <pc:sldLayoutMk cId="1771150605" sldId="2147483747"/>
              <ac:spMk id="13" creationId="{2E2663C1-01FA-03BC-2756-3DE4BC7905A0}"/>
            </ac:spMkLst>
          </pc:spChg>
          <pc:spChg chg="add del mod">
            <ac:chgData name="Remi de Vogel" userId="5948360e-7b9c-4a22-9ada-df5e8b901c82" providerId="ADAL" clId="{848B40CD-DCFD-4256-872E-30365CE333A5}" dt="2022-05-25T15:29:17.133" v="855" actId="478"/>
            <ac:spMkLst>
              <pc:docMk/>
              <pc:sldMasterMk cId="259861064" sldId="2147483648"/>
              <pc:sldLayoutMk cId="1771150605" sldId="2147483747"/>
              <ac:spMk id="14" creationId="{49784CE5-0E09-2E73-8465-5C447F41C0FD}"/>
            </ac:spMkLst>
          </pc:spChg>
          <pc:spChg chg="add del mod">
            <ac:chgData name="Remi de Vogel" userId="5948360e-7b9c-4a22-9ada-df5e8b901c82" providerId="ADAL" clId="{848B40CD-DCFD-4256-872E-30365CE333A5}" dt="2022-05-25T13:54:59.004" v="677" actId="478"/>
            <ac:spMkLst>
              <pc:docMk/>
              <pc:sldMasterMk cId="259861064" sldId="2147483648"/>
              <pc:sldLayoutMk cId="1771150605" sldId="2147483747"/>
              <ac:spMk id="14" creationId="{E1E823E2-FFCB-4337-BDBF-E793F5FFCE0E}"/>
            </ac:spMkLst>
          </pc:spChg>
          <pc:spChg chg="add del mod">
            <ac:chgData name="Remi de Vogel" userId="5948360e-7b9c-4a22-9ada-df5e8b901c82" providerId="ADAL" clId="{848B40CD-DCFD-4256-872E-30365CE333A5}" dt="2022-05-25T15:29:20.687" v="857" actId="478"/>
            <ac:spMkLst>
              <pc:docMk/>
              <pc:sldMasterMk cId="259861064" sldId="2147483648"/>
              <pc:sldLayoutMk cId="1771150605" sldId="2147483747"/>
              <ac:spMk id="15" creationId="{8DF33E00-9D3B-D4C7-50C7-38A5E68C8FF1}"/>
            </ac:spMkLst>
          </pc:spChg>
          <pc:spChg chg="add del mod">
            <ac:chgData name="Remi de Vogel" userId="5948360e-7b9c-4a22-9ada-df5e8b901c82" providerId="ADAL" clId="{848B40CD-DCFD-4256-872E-30365CE333A5}" dt="2022-05-25T13:54:59.004" v="677" actId="478"/>
            <ac:spMkLst>
              <pc:docMk/>
              <pc:sldMasterMk cId="259861064" sldId="2147483648"/>
              <pc:sldLayoutMk cId="1771150605" sldId="2147483747"/>
              <ac:spMk id="15" creationId="{D46F6F3D-E2C6-5B2C-5B51-59C4FF98D956}"/>
            </ac:spMkLst>
          </pc:spChg>
          <pc:spChg chg="add del mod">
            <ac:chgData name="Remi de Vogel" userId="5948360e-7b9c-4a22-9ada-df5e8b901c82" providerId="ADAL" clId="{848B40CD-DCFD-4256-872E-30365CE333A5}" dt="2022-05-25T15:29:20.687" v="857" actId="478"/>
            <ac:spMkLst>
              <pc:docMk/>
              <pc:sldMasterMk cId="259861064" sldId="2147483648"/>
              <pc:sldLayoutMk cId="1771150605" sldId="2147483747"/>
              <ac:spMk id="16" creationId="{3B5C664F-4514-53E4-0CE9-C3726A77EBBF}"/>
            </ac:spMkLst>
          </pc:spChg>
          <pc:spChg chg="add del mod">
            <ac:chgData name="Remi de Vogel" userId="5948360e-7b9c-4a22-9ada-df5e8b901c82" providerId="ADAL" clId="{848B40CD-DCFD-4256-872E-30365CE333A5}" dt="2022-05-25T15:09:17.522" v="790" actId="478"/>
            <ac:spMkLst>
              <pc:docMk/>
              <pc:sldMasterMk cId="259861064" sldId="2147483648"/>
              <pc:sldLayoutMk cId="1771150605" sldId="2147483747"/>
              <ac:spMk id="16" creationId="{7562C8AC-2416-0836-B8D0-F3D3E33DB2AD}"/>
            </ac:spMkLst>
          </pc:spChg>
          <pc:spChg chg="add mod">
            <ac:chgData name="Remi de Vogel" userId="5948360e-7b9c-4a22-9ada-df5e8b901c82" providerId="ADAL" clId="{848B40CD-DCFD-4256-872E-30365CE333A5}" dt="2022-05-25T15:29:18.821" v="856"/>
            <ac:spMkLst>
              <pc:docMk/>
              <pc:sldMasterMk cId="259861064" sldId="2147483648"/>
              <pc:sldLayoutMk cId="1771150605" sldId="2147483747"/>
              <ac:spMk id="17" creationId="{6BF9F97B-EB1B-5EA5-6DC2-FA81C83540E2}"/>
            </ac:spMkLst>
          </pc:spChg>
          <pc:spChg chg="add del mod">
            <ac:chgData name="Remi de Vogel" userId="5948360e-7b9c-4a22-9ada-df5e8b901c82" providerId="ADAL" clId="{848B40CD-DCFD-4256-872E-30365CE333A5}" dt="2022-05-25T15:29:20.687" v="857" actId="478"/>
            <ac:spMkLst>
              <pc:docMk/>
              <pc:sldMasterMk cId="259861064" sldId="2147483648"/>
              <pc:sldLayoutMk cId="1771150605" sldId="2147483747"/>
              <ac:spMk id="18" creationId="{C4BE1E55-7645-9A3F-A5EF-A8CC0AD3712D}"/>
            </ac:spMkLst>
          </pc:spChg>
        </pc:sldLayoutChg>
        <pc:sldLayoutChg chg="addSp delSp modSp add mod modTransition">
          <pc:chgData name="Remi de Vogel" userId="5948360e-7b9c-4a22-9ada-df5e8b901c82" providerId="ADAL" clId="{848B40CD-DCFD-4256-872E-30365CE333A5}" dt="2022-05-25T15:28:44.519" v="841" actId="478"/>
          <pc:sldLayoutMkLst>
            <pc:docMk/>
            <pc:sldMasterMk cId="259861064" sldId="2147483648"/>
            <pc:sldLayoutMk cId="2342664833" sldId="2147483748"/>
          </pc:sldLayoutMkLst>
          <pc:spChg chg="mod">
            <ac:chgData name="Remi de Vogel" userId="5948360e-7b9c-4a22-9ada-df5e8b901c82" providerId="ADAL" clId="{848B40CD-DCFD-4256-872E-30365CE333A5}" dt="2022-05-25T13:35:32.573" v="206" actId="14100"/>
            <ac:spMkLst>
              <pc:docMk/>
              <pc:sldMasterMk cId="259861064" sldId="2147483648"/>
              <pc:sldLayoutMk cId="2342664833" sldId="2147483748"/>
              <ac:spMk id="3" creationId="{00000000-0000-0000-0000-000000000000}"/>
            </ac:spMkLst>
          </pc:spChg>
          <pc:spChg chg="mod">
            <ac:chgData name="Remi de Vogel" userId="5948360e-7b9c-4a22-9ada-df5e8b901c82" providerId="ADAL" clId="{848B40CD-DCFD-4256-872E-30365CE333A5}" dt="2022-05-25T13:52:37.775" v="639" actId="1076"/>
            <ac:spMkLst>
              <pc:docMk/>
              <pc:sldMasterMk cId="259861064" sldId="2147483648"/>
              <pc:sldLayoutMk cId="2342664833" sldId="2147483748"/>
              <ac:spMk id="4" creationId="{00000000-0000-0000-0000-000000000000}"/>
            </ac:spMkLst>
          </pc:spChg>
          <pc:spChg chg="mod">
            <ac:chgData name="Remi de Vogel" userId="5948360e-7b9c-4a22-9ada-df5e8b901c82" providerId="ADAL" clId="{848B40CD-DCFD-4256-872E-30365CE333A5}" dt="2022-05-25T13:52:37.775" v="639" actId="1076"/>
            <ac:spMkLst>
              <pc:docMk/>
              <pc:sldMasterMk cId="259861064" sldId="2147483648"/>
              <pc:sldLayoutMk cId="2342664833" sldId="2147483748"/>
              <ac:spMk id="5" creationId="{00000000-0000-0000-0000-000000000000}"/>
            </ac:spMkLst>
          </pc:spChg>
          <pc:spChg chg="add mod ord">
            <ac:chgData name="Remi de Vogel" userId="5948360e-7b9c-4a22-9ada-df5e8b901c82" providerId="ADAL" clId="{848B40CD-DCFD-4256-872E-30365CE333A5}" dt="2022-05-25T13:35:36.123" v="209" actId="167"/>
            <ac:spMkLst>
              <pc:docMk/>
              <pc:sldMasterMk cId="259861064" sldId="2147483648"/>
              <pc:sldLayoutMk cId="2342664833" sldId="2147483748"/>
              <ac:spMk id="10" creationId="{9CD77FC5-C010-3CBE-0C9A-3885F1EC4CC0}"/>
            </ac:spMkLst>
          </pc:spChg>
          <pc:spChg chg="add del mod">
            <ac:chgData name="Remi de Vogel" userId="5948360e-7b9c-4a22-9ada-df5e8b901c82" providerId="ADAL" clId="{848B40CD-DCFD-4256-872E-30365CE333A5}" dt="2022-05-25T15:28:42.082" v="839" actId="478"/>
            <ac:spMkLst>
              <pc:docMk/>
              <pc:sldMasterMk cId="259861064" sldId="2147483648"/>
              <pc:sldLayoutMk cId="2342664833" sldId="2147483748"/>
              <ac:spMk id="13" creationId="{3B74406A-BE7C-F0B2-F823-8F409826A992}"/>
            </ac:spMkLst>
          </pc:spChg>
          <pc:spChg chg="add del mod">
            <ac:chgData name="Remi de Vogel" userId="5948360e-7b9c-4a22-9ada-df5e8b901c82" providerId="ADAL" clId="{848B40CD-DCFD-4256-872E-30365CE333A5}" dt="2022-05-25T13:52:41.727" v="643" actId="478"/>
            <ac:spMkLst>
              <pc:docMk/>
              <pc:sldMasterMk cId="259861064" sldId="2147483648"/>
              <pc:sldLayoutMk cId="2342664833" sldId="2147483748"/>
              <ac:spMk id="13" creationId="{C5B5FA83-0783-858E-C35A-4B7D5BB05E49}"/>
            </ac:spMkLst>
          </pc:spChg>
          <pc:spChg chg="add del mod">
            <ac:chgData name="Remi de Vogel" userId="5948360e-7b9c-4a22-9ada-df5e8b901c82" providerId="ADAL" clId="{848B40CD-DCFD-4256-872E-30365CE333A5}" dt="2022-05-25T15:28:44.519" v="841" actId="478"/>
            <ac:spMkLst>
              <pc:docMk/>
              <pc:sldMasterMk cId="259861064" sldId="2147483648"/>
              <pc:sldLayoutMk cId="2342664833" sldId="2147483748"/>
              <ac:spMk id="14" creationId="{9E23BF2F-95EA-4343-D69F-A4FFC3367942}"/>
            </ac:spMkLst>
          </pc:spChg>
          <pc:spChg chg="add del mod">
            <ac:chgData name="Remi de Vogel" userId="5948360e-7b9c-4a22-9ada-df5e8b901c82" providerId="ADAL" clId="{848B40CD-DCFD-4256-872E-30365CE333A5}" dt="2022-05-25T13:52:41.727" v="643" actId="478"/>
            <ac:spMkLst>
              <pc:docMk/>
              <pc:sldMasterMk cId="259861064" sldId="2147483648"/>
              <pc:sldLayoutMk cId="2342664833" sldId="2147483748"/>
              <ac:spMk id="14" creationId="{DAACF6AB-95A7-190F-C6DB-90D1CF353F4E}"/>
            </ac:spMkLst>
          </pc:spChg>
          <pc:spChg chg="del mod">
            <ac:chgData name="Remi de Vogel" userId="5948360e-7b9c-4a22-9ada-df5e8b901c82" providerId="ADAL" clId="{848B40CD-DCFD-4256-872E-30365CE333A5}" dt="2022-05-25T13:35:25.334" v="185" actId="478"/>
            <ac:spMkLst>
              <pc:docMk/>
              <pc:sldMasterMk cId="259861064" sldId="2147483648"/>
              <pc:sldLayoutMk cId="2342664833" sldId="2147483748"/>
              <ac:spMk id="15" creationId="{21772525-22CD-4042-886C-E9DBDB7CD00A}"/>
            </ac:spMkLst>
          </pc:spChg>
          <pc:spChg chg="add del mod">
            <ac:chgData name="Remi de Vogel" userId="5948360e-7b9c-4a22-9ada-df5e8b901c82" providerId="ADAL" clId="{848B40CD-DCFD-4256-872E-30365CE333A5}" dt="2022-05-25T15:28:44.519" v="841" actId="478"/>
            <ac:spMkLst>
              <pc:docMk/>
              <pc:sldMasterMk cId="259861064" sldId="2147483648"/>
              <pc:sldLayoutMk cId="2342664833" sldId="2147483748"/>
              <ac:spMk id="15" creationId="{F73C6BCB-8CE4-0D42-2B2F-3B2433B98C1D}"/>
            </ac:spMkLst>
          </pc:spChg>
          <pc:spChg chg="add del mod">
            <ac:chgData name="Remi de Vogel" userId="5948360e-7b9c-4a22-9ada-df5e8b901c82" providerId="ADAL" clId="{848B40CD-DCFD-4256-872E-30365CE333A5}" dt="2022-05-25T13:52:41.727" v="643" actId="478"/>
            <ac:spMkLst>
              <pc:docMk/>
              <pc:sldMasterMk cId="259861064" sldId="2147483648"/>
              <pc:sldLayoutMk cId="2342664833" sldId="2147483748"/>
              <ac:spMk id="16" creationId="{C3253267-BEB5-CB1A-5944-7D51684299B9}"/>
            </ac:spMkLst>
          </pc:spChg>
          <pc:spChg chg="add mod">
            <ac:chgData name="Remi de Vogel" userId="5948360e-7b9c-4a22-9ada-df5e8b901c82" providerId="ADAL" clId="{848B40CD-DCFD-4256-872E-30365CE333A5}" dt="2022-05-25T15:28:42.965" v="840"/>
            <ac:spMkLst>
              <pc:docMk/>
              <pc:sldMasterMk cId="259861064" sldId="2147483648"/>
              <pc:sldLayoutMk cId="2342664833" sldId="2147483748"/>
              <ac:spMk id="16" creationId="{DB92284A-A595-B565-C68E-494B1981F20B}"/>
            </ac:spMkLst>
          </pc:spChg>
          <pc:spChg chg="add del mod">
            <ac:chgData name="Remi de Vogel" userId="5948360e-7b9c-4a22-9ada-df5e8b901c82" providerId="ADAL" clId="{848B40CD-DCFD-4256-872E-30365CE333A5}" dt="2022-05-25T15:08:21.251" v="777" actId="478"/>
            <ac:spMkLst>
              <pc:docMk/>
              <pc:sldMasterMk cId="259861064" sldId="2147483648"/>
              <pc:sldLayoutMk cId="2342664833" sldId="2147483748"/>
              <ac:spMk id="17" creationId="{01219B4C-EAEE-8D21-7159-A3D990E836EC}"/>
            </ac:spMkLst>
          </pc:spChg>
          <pc:spChg chg="add del mod">
            <ac:chgData name="Remi de Vogel" userId="5948360e-7b9c-4a22-9ada-df5e8b901c82" providerId="ADAL" clId="{848B40CD-DCFD-4256-872E-30365CE333A5}" dt="2022-05-25T15:28:44.519" v="841" actId="478"/>
            <ac:spMkLst>
              <pc:docMk/>
              <pc:sldMasterMk cId="259861064" sldId="2147483648"/>
              <pc:sldLayoutMk cId="2342664833" sldId="2147483748"/>
              <ac:spMk id="17" creationId="{DDE7A7ED-6A8C-9519-BC35-D5B878184ED2}"/>
            </ac:spMkLst>
          </pc:spChg>
        </pc:sldLayoutChg>
        <pc:sldLayoutChg chg="addSp delSp modSp add mod modTransition">
          <pc:chgData name="Remi de Vogel" userId="5948360e-7b9c-4a22-9ada-df5e8b901c82" providerId="ADAL" clId="{848B40CD-DCFD-4256-872E-30365CE333A5}" dt="2022-05-25T15:28:27.010" v="833" actId="478"/>
          <pc:sldLayoutMkLst>
            <pc:docMk/>
            <pc:sldMasterMk cId="259861064" sldId="2147483648"/>
            <pc:sldLayoutMk cId="1980762881" sldId="2147483749"/>
          </pc:sldLayoutMkLst>
          <pc:spChg chg="mod">
            <ac:chgData name="Remi de Vogel" userId="5948360e-7b9c-4a22-9ada-df5e8b901c82" providerId="ADAL" clId="{848B40CD-DCFD-4256-872E-30365CE333A5}" dt="2022-05-25T13:52:18.426" v="627" actId="1076"/>
            <ac:spMkLst>
              <pc:docMk/>
              <pc:sldMasterMk cId="259861064" sldId="2147483648"/>
              <pc:sldLayoutMk cId="1980762881" sldId="2147483749"/>
              <ac:spMk id="4" creationId="{00000000-0000-0000-0000-000000000000}"/>
            </ac:spMkLst>
          </pc:spChg>
          <pc:spChg chg="mod">
            <ac:chgData name="Remi de Vogel" userId="5948360e-7b9c-4a22-9ada-df5e8b901c82" providerId="ADAL" clId="{848B40CD-DCFD-4256-872E-30365CE333A5}" dt="2022-05-25T13:52:18.426" v="627" actId="1076"/>
            <ac:spMkLst>
              <pc:docMk/>
              <pc:sldMasterMk cId="259861064" sldId="2147483648"/>
              <pc:sldLayoutMk cId="1980762881" sldId="2147483749"/>
              <ac:spMk id="5" creationId="{00000000-0000-0000-0000-000000000000}"/>
            </ac:spMkLst>
          </pc:spChg>
          <pc:spChg chg="add mod ord">
            <ac:chgData name="Remi de Vogel" userId="5948360e-7b9c-4a22-9ada-df5e8b901c82" providerId="ADAL" clId="{848B40CD-DCFD-4256-872E-30365CE333A5}" dt="2022-05-25T13:36:39.666" v="246" actId="167"/>
            <ac:spMkLst>
              <pc:docMk/>
              <pc:sldMasterMk cId="259861064" sldId="2147483648"/>
              <pc:sldLayoutMk cId="1980762881" sldId="2147483749"/>
              <ac:spMk id="10" creationId="{59676A65-185D-F9D1-A165-09E2E9A75B4C}"/>
            </ac:spMkLst>
          </pc:spChg>
          <pc:spChg chg="add del mod">
            <ac:chgData name="Remi de Vogel" userId="5948360e-7b9c-4a22-9ada-df5e8b901c82" providerId="ADAL" clId="{848B40CD-DCFD-4256-872E-30365CE333A5}" dt="2022-05-25T13:52:23.044" v="633" actId="478"/>
            <ac:spMkLst>
              <pc:docMk/>
              <pc:sldMasterMk cId="259861064" sldId="2147483648"/>
              <pc:sldLayoutMk cId="1980762881" sldId="2147483749"/>
              <ac:spMk id="13" creationId="{63AE77B3-29C1-CF74-74F5-1CB5155B2D96}"/>
            </ac:spMkLst>
          </pc:spChg>
          <pc:spChg chg="add del mod">
            <ac:chgData name="Remi de Vogel" userId="5948360e-7b9c-4a22-9ada-df5e8b901c82" providerId="ADAL" clId="{848B40CD-DCFD-4256-872E-30365CE333A5}" dt="2022-05-25T15:28:27.010" v="833" actId="478"/>
            <ac:spMkLst>
              <pc:docMk/>
              <pc:sldMasterMk cId="259861064" sldId="2147483648"/>
              <pc:sldLayoutMk cId="1980762881" sldId="2147483749"/>
              <ac:spMk id="13" creationId="{96DE2750-5769-0C07-068D-77139ED3B760}"/>
            </ac:spMkLst>
          </pc:spChg>
          <pc:spChg chg="add del mod">
            <ac:chgData name="Remi de Vogel" userId="5948360e-7b9c-4a22-9ada-df5e8b901c82" providerId="ADAL" clId="{848B40CD-DCFD-4256-872E-30365CE333A5}" dt="2022-05-25T15:28:27.010" v="833" actId="478"/>
            <ac:spMkLst>
              <pc:docMk/>
              <pc:sldMasterMk cId="259861064" sldId="2147483648"/>
              <pc:sldLayoutMk cId="1980762881" sldId="2147483749"/>
              <ac:spMk id="14" creationId="{08AADA80-85C7-138A-38C9-B52F76BCBDEF}"/>
            </ac:spMkLst>
          </pc:spChg>
          <pc:spChg chg="add del mod">
            <ac:chgData name="Remi de Vogel" userId="5948360e-7b9c-4a22-9ada-df5e8b901c82" providerId="ADAL" clId="{848B40CD-DCFD-4256-872E-30365CE333A5}" dt="2022-05-25T13:52:23.044" v="633" actId="478"/>
            <ac:spMkLst>
              <pc:docMk/>
              <pc:sldMasterMk cId="259861064" sldId="2147483648"/>
              <pc:sldLayoutMk cId="1980762881" sldId="2147483749"/>
              <ac:spMk id="14" creationId="{A1B8778F-3114-7B7D-6CCF-CB196E6B9CB1}"/>
            </ac:spMkLst>
          </pc:spChg>
          <pc:spChg chg="del mod">
            <ac:chgData name="Remi de Vogel" userId="5948360e-7b9c-4a22-9ada-df5e8b901c82" providerId="ADAL" clId="{848B40CD-DCFD-4256-872E-30365CE333A5}" dt="2022-05-25T13:36:36.951" v="224" actId="478"/>
            <ac:spMkLst>
              <pc:docMk/>
              <pc:sldMasterMk cId="259861064" sldId="2147483648"/>
              <pc:sldLayoutMk cId="1980762881" sldId="2147483749"/>
              <ac:spMk id="15" creationId="{21772525-22CD-4042-886C-E9DBDB7CD00A}"/>
            </ac:spMkLst>
          </pc:spChg>
          <pc:spChg chg="add mod">
            <ac:chgData name="Remi de Vogel" userId="5948360e-7b9c-4a22-9ada-df5e8b901c82" providerId="ADAL" clId="{848B40CD-DCFD-4256-872E-30365CE333A5}" dt="2022-05-25T15:28:25.616" v="832"/>
            <ac:spMkLst>
              <pc:docMk/>
              <pc:sldMasterMk cId="259861064" sldId="2147483648"/>
              <pc:sldLayoutMk cId="1980762881" sldId="2147483749"/>
              <ac:spMk id="15" creationId="{B155F5B3-FB66-FFB3-E069-54F1C96955E5}"/>
            </ac:spMkLst>
          </pc:spChg>
          <pc:spChg chg="add del mod">
            <ac:chgData name="Remi de Vogel" userId="5948360e-7b9c-4a22-9ada-df5e8b901c82" providerId="ADAL" clId="{848B40CD-DCFD-4256-872E-30365CE333A5}" dt="2022-05-25T13:52:23.044" v="633" actId="478"/>
            <ac:spMkLst>
              <pc:docMk/>
              <pc:sldMasterMk cId="259861064" sldId="2147483648"/>
              <pc:sldLayoutMk cId="1980762881" sldId="2147483749"/>
              <ac:spMk id="16" creationId="{3BB73404-78A4-9015-7898-E520D5604BA9}"/>
            </ac:spMkLst>
          </pc:spChg>
          <pc:spChg chg="add del mod">
            <ac:chgData name="Remi de Vogel" userId="5948360e-7b9c-4a22-9ada-df5e8b901c82" providerId="ADAL" clId="{848B40CD-DCFD-4256-872E-30365CE333A5}" dt="2022-05-25T15:28:27.010" v="833" actId="478"/>
            <ac:spMkLst>
              <pc:docMk/>
              <pc:sldMasterMk cId="259861064" sldId="2147483648"/>
              <pc:sldLayoutMk cId="1980762881" sldId="2147483749"/>
              <ac:spMk id="16" creationId="{58331A0A-828C-9ADD-B86A-FE0918D5834C}"/>
            </ac:spMkLst>
          </pc:spChg>
          <pc:spChg chg="add del mod">
            <ac:chgData name="Remi de Vogel" userId="5948360e-7b9c-4a22-9ada-df5e8b901c82" providerId="ADAL" clId="{848B40CD-DCFD-4256-872E-30365CE333A5}" dt="2022-05-25T15:28:24.871" v="831" actId="478"/>
            <ac:spMkLst>
              <pc:docMk/>
              <pc:sldMasterMk cId="259861064" sldId="2147483648"/>
              <pc:sldLayoutMk cId="1980762881" sldId="2147483749"/>
              <ac:spMk id="17" creationId="{55CABD6D-D917-9B4A-9FD9-19C3C1780DE6}"/>
            </ac:spMkLst>
          </pc:spChg>
        </pc:sldLayoutChg>
        <pc:sldLayoutChg chg="addSp delSp modSp add mod ord modTransition">
          <pc:chgData name="Remi de Vogel" userId="5948360e-7b9c-4a22-9ada-df5e8b901c82" providerId="ADAL" clId="{848B40CD-DCFD-4256-872E-30365CE333A5}" dt="2022-05-25T15:30:06.728" v="870"/>
          <pc:sldLayoutMkLst>
            <pc:docMk/>
            <pc:sldMasterMk cId="259861064" sldId="2147483648"/>
            <pc:sldLayoutMk cId="3739579832" sldId="2147483750"/>
          </pc:sldLayoutMkLst>
          <pc:spChg chg="mod">
            <ac:chgData name="Remi de Vogel" userId="5948360e-7b9c-4a22-9ada-df5e8b901c82" providerId="ADAL" clId="{848B40CD-DCFD-4256-872E-30365CE333A5}" dt="2022-05-25T13:55:37.336" v="686" actId="1076"/>
            <ac:spMkLst>
              <pc:docMk/>
              <pc:sldMasterMk cId="259861064" sldId="2147483648"/>
              <pc:sldLayoutMk cId="3739579832" sldId="2147483750"/>
              <ac:spMk id="3" creationId="{00000000-0000-0000-0000-000000000000}"/>
            </ac:spMkLst>
          </pc:spChg>
          <pc:spChg chg="mod">
            <ac:chgData name="Remi de Vogel" userId="5948360e-7b9c-4a22-9ada-df5e8b901c82" providerId="ADAL" clId="{848B40CD-DCFD-4256-872E-30365CE333A5}" dt="2022-05-25T13:55:37.336" v="686" actId="1076"/>
            <ac:spMkLst>
              <pc:docMk/>
              <pc:sldMasterMk cId="259861064" sldId="2147483648"/>
              <pc:sldLayoutMk cId="3739579832" sldId="2147483750"/>
              <ac:spMk id="4" creationId="{00000000-0000-0000-0000-000000000000}"/>
            </ac:spMkLst>
          </pc:spChg>
          <pc:spChg chg="mod">
            <ac:chgData name="Remi de Vogel" userId="5948360e-7b9c-4a22-9ada-df5e8b901c82" providerId="ADAL" clId="{848B40CD-DCFD-4256-872E-30365CE333A5}" dt="2022-05-25T13:37:31.240" v="274" actId="207"/>
            <ac:spMkLst>
              <pc:docMk/>
              <pc:sldMasterMk cId="259861064" sldId="2147483648"/>
              <pc:sldLayoutMk cId="3739579832" sldId="2147483750"/>
              <ac:spMk id="5" creationId="{00000000-0000-0000-0000-000000000000}"/>
            </ac:spMkLst>
          </pc:spChg>
          <pc:spChg chg="add mod ord">
            <ac:chgData name="Remi de Vogel" userId="5948360e-7b9c-4a22-9ada-df5e8b901c82" providerId="ADAL" clId="{848B40CD-DCFD-4256-872E-30365CE333A5}" dt="2022-05-25T13:37:25.175" v="273" actId="167"/>
            <ac:spMkLst>
              <pc:docMk/>
              <pc:sldMasterMk cId="259861064" sldId="2147483648"/>
              <pc:sldLayoutMk cId="3739579832" sldId="2147483750"/>
              <ac:spMk id="9" creationId="{88E5F354-1DC3-F8FE-7F43-E31C743575C5}"/>
            </ac:spMkLst>
          </pc:spChg>
          <pc:spChg chg="add mod">
            <ac:chgData name="Remi de Vogel" userId="5948360e-7b9c-4a22-9ada-df5e8b901c82" providerId="ADAL" clId="{848B40CD-DCFD-4256-872E-30365CE333A5}" dt="2022-05-25T15:30:05.255" v="869" actId="6549"/>
            <ac:spMkLst>
              <pc:docMk/>
              <pc:sldMasterMk cId="259861064" sldId="2147483648"/>
              <pc:sldLayoutMk cId="3739579832" sldId="2147483750"/>
              <ac:spMk id="10" creationId="{898CDCD9-0D46-D073-111A-5394088400A0}"/>
            </ac:spMkLst>
          </pc:spChg>
          <pc:spChg chg="add del mod">
            <ac:chgData name="Remi de Vogel" userId="5948360e-7b9c-4a22-9ada-df5e8b901c82" providerId="ADAL" clId="{848B40CD-DCFD-4256-872E-30365CE333A5}" dt="2022-05-25T15:30:03.685" v="868" actId="478"/>
            <ac:spMkLst>
              <pc:docMk/>
              <pc:sldMasterMk cId="259861064" sldId="2147483648"/>
              <pc:sldLayoutMk cId="3739579832" sldId="2147483750"/>
              <ac:spMk id="11" creationId="{2520AB12-8D26-1FC5-8713-F43E5AEDA782}"/>
            </ac:spMkLst>
          </pc:spChg>
          <pc:spChg chg="add del mod">
            <ac:chgData name="Remi de Vogel" userId="5948360e-7b9c-4a22-9ada-df5e8b901c82" providerId="ADAL" clId="{848B40CD-DCFD-4256-872E-30365CE333A5}" dt="2022-05-25T15:14:56.451" v="817" actId="478"/>
            <ac:spMkLst>
              <pc:docMk/>
              <pc:sldMasterMk cId="259861064" sldId="2147483648"/>
              <pc:sldLayoutMk cId="3739579832" sldId="2147483750"/>
              <ac:spMk id="12" creationId="{48106AB0-0111-B803-E91D-CF4F60E92A1C}"/>
            </ac:spMkLst>
          </pc:spChg>
          <pc:spChg chg="add del mod">
            <ac:chgData name="Remi de Vogel" userId="5948360e-7b9c-4a22-9ada-df5e8b901c82" providerId="ADAL" clId="{848B40CD-DCFD-4256-872E-30365CE333A5}" dt="2022-05-25T15:09:30.352" v="794" actId="478"/>
            <ac:spMkLst>
              <pc:docMk/>
              <pc:sldMasterMk cId="259861064" sldId="2147483648"/>
              <pc:sldLayoutMk cId="3739579832" sldId="2147483750"/>
              <ac:spMk id="13" creationId="{671F0E5E-5AC3-D662-974E-EE1AD29DB4FE}"/>
            </ac:spMkLst>
          </pc:spChg>
          <pc:spChg chg="add mod">
            <ac:chgData name="Remi de Vogel" userId="5948360e-7b9c-4a22-9ada-df5e8b901c82" providerId="ADAL" clId="{848B40CD-DCFD-4256-872E-30365CE333A5}" dt="2022-05-25T15:30:06.728" v="870"/>
            <ac:spMkLst>
              <pc:docMk/>
              <pc:sldMasterMk cId="259861064" sldId="2147483648"/>
              <pc:sldLayoutMk cId="3739579832" sldId="2147483750"/>
              <ac:spMk id="13" creationId="{C2DA86DB-6A03-D6C4-02A6-0614E4D1D952}"/>
            </ac:spMkLst>
          </pc:spChg>
          <pc:spChg chg="add del mod">
            <ac:chgData name="Remi de Vogel" userId="5948360e-7b9c-4a22-9ada-df5e8b901c82" providerId="ADAL" clId="{848B40CD-DCFD-4256-872E-30365CE333A5}" dt="2022-05-25T15:30:01.968" v="867" actId="478"/>
            <ac:spMkLst>
              <pc:docMk/>
              <pc:sldMasterMk cId="259861064" sldId="2147483648"/>
              <pc:sldLayoutMk cId="3739579832" sldId="2147483750"/>
              <ac:spMk id="14" creationId="{50C0E22D-6C6C-66A7-D5AF-0E879199EC49}"/>
            </ac:spMkLst>
          </pc:spChg>
          <pc:spChg chg="add del mod">
            <ac:chgData name="Remi de Vogel" userId="5948360e-7b9c-4a22-9ada-df5e8b901c82" providerId="ADAL" clId="{848B40CD-DCFD-4256-872E-30365CE333A5}" dt="2022-05-25T15:30:03.685" v="868" actId="478"/>
            <ac:spMkLst>
              <pc:docMk/>
              <pc:sldMasterMk cId="259861064" sldId="2147483648"/>
              <pc:sldLayoutMk cId="3739579832" sldId="2147483750"/>
              <ac:spMk id="16" creationId="{A17834A8-9314-131F-369A-523CA4DAB242}"/>
            </ac:spMkLst>
          </pc:spChg>
          <pc:spChg chg="add mod">
            <ac:chgData name="Remi de Vogel" userId="5948360e-7b9c-4a22-9ada-df5e8b901c82" providerId="ADAL" clId="{848B40CD-DCFD-4256-872E-30365CE333A5}" dt="2022-05-25T15:30:06.728" v="870"/>
            <ac:spMkLst>
              <pc:docMk/>
              <pc:sldMasterMk cId="259861064" sldId="2147483648"/>
              <pc:sldLayoutMk cId="3739579832" sldId="2147483750"/>
              <ac:spMk id="17" creationId="{99C3862B-03E9-C681-AE5C-3086B5C56496}"/>
            </ac:spMkLst>
          </pc:spChg>
          <pc:spChg chg="add mod">
            <ac:chgData name="Remi de Vogel" userId="5948360e-7b9c-4a22-9ada-df5e8b901c82" providerId="ADAL" clId="{848B40CD-DCFD-4256-872E-30365CE333A5}" dt="2022-05-25T15:30:06.728" v="870"/>
            <ac:spMkLst>
              <pc:docMk/>
              <pc:sldMasterMk cId="259861064" sldId="2147483648"/>
              <pc:sldLayoutMk cId="3739579832" sldId="2147483750"/>
              <ac:spMk id="18" creationId="{F5AB728B-9EF5-2A6B-1FC0-9B5E847497FC}"/>
            </ac:spMkLst>
          </pc:spChg>
          <pc:spChg chg="add mod">
            <ac:chgData name="Remi de Vogel" userId="5948360e-7b9c-4a22-9ada-df5e8b901c82" providerId="ADAL" clId="{848B40CD-DCFD-4256-872E-30365CE333A5}" dt="2022-05-25T15:30:06.728" v="870"/>
            <ac:spMkLst>
              <pc:docMk/>
              <pc:sldMasterMk cId="259861064" sldId="2147483648"/>
              <pc:sldLayoutMk cId="3739579832" sldId="2147483750"/>
              <ac:spMk id="19" creationId="{9945ECFB-344C-AC88-A03F-9464C158B0C2}"/>
            </ac:spMkLst>
          </pc:spChg>
        </pc:sldLayoutChg>
        <pc:sldLayoutChg chg="addSp delSp modSp add mod modTransition">
          <pc:chgData name="Remi de Vogel" userId="5948360e-7b9c-4a22-9ada-df5e8b901c82" providerId="ADAL" clId="{848B40CD-DCFD-4256-872E-30365CE333A5}" dt="2022-05-25T15:29:12.613" v="854" actId="478"/>
          <pc:sldLayoutMkLst>
            <pc:docMk/>
            <pc:sldMasterMk cId="259861064" sldId="2147483648"/>
            <pc:sldLayoutMk cId="1508797419" sldId="2147483751"/>
          </pc:sldLayoutMkLst>
          <pc:spChg chg="mod">
            <ac:chgData name="Remi de Vogel" userId="5948360e-7b9c-4a22-9ada-df5e8b901c82" providerId="ADAL" clId="{848B40CD-DCFD-4256-872E-30365CE333A5}" dt="2022-05-25T13:54:42.218" v="669" actId="1076"/>
            <ac:spMkLst>
              <pc:docMk/>
              <pc:sldMasterMk cId="259861064" sldId="2147483648"/>
              <pc:sldLayoutMk cId="1508797419" sldId="2147483751"/>
              <ac:spMk id="4" creationId="{00000000-0000-0000-0000-000000000000}"/>
            </ac:spMkLst>
          </pc:spChg>
          <pc:spChg chg="mod">
            <ac:chgData name="Remi de Vogel" userId="5948360e-7b9c-4a22-9ada-df5e8b901c82" providerId="ADAL" clId="{848B40CD-DCFD-4256-872E-30365CE333A5}" dt="2022-05-25T13:54:42.218" v="669" actId="1076"/>
            <ac:spMkLst>
              <pc:docMk/>
              <pc:sldMasterMk cId="259861064" sldId="2147483648"/>
              <pc:sldLayoutMk cId="1508797419" sldId="2147483751"/>
              <ac:spMk id="5" creationId="{00000000-0000-0000-0000-000000000000}"/>
            </ac:spMkLst>
          </pc:spChg>
          <pc:spChg chg="del">
            <ac:chgData name="Remi de Vogel" userId="5948360e-7b9c-4a22-9ada-df5e8b901c82" providerId="ADAL" clId="{848B40CD-DCFD-4256-872E-30365CE333A5}" dt="2022-05-25T13:38:31.475" v="288" actId="478"/>
            <ac:spMkLst>
              <pc:docMk/>
              <pc:sldMasterMk cId="259861064" sldId="2147483648"/>
              <pc:sldLayoutMk cId="1508797419" sldId="2147483751"/>
              <ac:spMk id="10" creationId="{D246A473-48A0-954F-BA29-6E5C7166F083}"/>
            </ac:spMkLst>
          </pc:spChg>
          <pc:spChg chg="add mod ord">
            <ac:chgData name="Remi de Vogel" userId="5948360e-7b9c-4a22-9ada-df5e8b901c82" providerId="ADAL" clId="{848B40CD-DCFD-4256-872E-30365CE333A5}" dt="2022-05-25T13:38:33.908" v="307" actId="167"/>
            <ac:spMkLst>
              <pc:docMk/>
              <pc:sldMasterMk cId="259861064" sldId="2147483648"/>
              <pc:sldLayoutMk cId="1508797419" sldId="2147483751"/>
              <ac:spMk id="13" creationId="{F64BA418-185E-24E1-BC6E-2A58C5F64D26}"/>
            </ac:spMkLst>
          </pc:spChg>
          <pc:spChg chg="add del mod">
            <ac:chgData name="Remi de Vogel" userId="5948360e-7b9c-4a22-9ada-df5e8b901c82" providerId="ADAL" clId="{848B40CD-DCFD-4256-872E-30365CE333A5}" dt="2022-05-25T13:54:47.918" v="673" actId="478"/>
            <ac:spMkLst>
              <pc:docMk/>
              <pc:sldMasterMk cId="259861064" sldId="2147483648"/>
              <pc:sldLayoutMk cId="1508797419" sldId="2147483751"/>
              <ac:spMk id="14" creationId="{C33FD2A8-A4CF-038A-0901-12A505081F66}"/>
            </ac:spMkLst>
          </pc:spChg>
          <pc:spChg chg="add del mod">
            <ac:chgData name="Remi de Vogel" userId="5948360e-7b9c-4a22-9ada-df5e8b901c82" providerId="ADAL" clId="{848B40CD-DCFD-4256-872E-30365CE333A5}" dt="2022-05-25T15:29:08.866" v="852" actId="478"/>
            <ac:spMkLst>
              <pc:docMk/>
              <pc:sldMasterMk cId="259861064" sldId="2147483648"/>
              <pc:sldLayoutMk cId="1508797419" sldId="2147483751"/>
              <ac:spMk id="14" creationId="{F26BD7F8-E2D1-3F46-9026-5A032F2DBC35}"/>
            </ac:spMkLst>
          </pc:spChg>
          <pc:spChg chg="add del mod">
            <ac:chgData name="Remi de Vogel" userId="5948360e-7b9c-4a22-9ada-df5e8b901c82" providerId="ADAL" clId="{848B40CD-DCFD-4256-872E-30365CE333A5}" dt="2022-05-25T13:54:47.918" v="673" actId="478"/>
            <ac:spMkLst>
              <pc:docMk/>
              <pc:sldMasterMk cId="259861064" sldId="2147483648"/>
              <pc:sldLayoutMk cId="1508797419" sldId="2147483751"/>
              <ac:spMk id="15" creationId="{9040DB12-0246-7DD7-36C0-F508F90F52EB}"/>
            </ac:spMkLst>
          </pc:spChg>
          <pc:spChg chg="add del mod">
            <ac:chgData name="Remi de Vogel" userId="5948360e-7b9c-4a22-9ada-df5e8b901c82" providerId="ADAL" clId="{848B40CD-DCFD-4256-872E-30365CE333A5}" dt="2022-05-25T15:29:12.613" v="854" actId="478"/>
            <ac:spMkLst>
              <pc:docMk/>
              <pc:sldMasterMk cId="259861064" sldId="2147483648"/>
              <pc:sldLayoutMk cId="1508797419" sldId="2147483751"/>
              <ac:spMk id="15" creationId="{F04AF00E-8E9C-6642-3D71-E46A19C6351D}"/>
            </ac:spMkLst>
          </pc:spChg>
          <pc:spChg chg="add del mod">
            <ac:chgData name="Remi de Vogel" userId="5948360e-7b9c-4a22-9ada-df5e8b901c82" providerId="ADAL" clId="{848B40CD-DCFD-4256-872E-30365CE333A5}" dt="2022-05-25T15:29:12.613" v="854" actId="478"/>
            <ac:spMkLst>
              <pc:docMk/>
              <pc:sldMasterMk cId="259861064" sldId="2147483648"/>
              <pc:sldLayoutMk cId="1508797419" sldId="2147483751"/>
              <ac:spMk id="16" creationId="{15B2ADB7-579A-CF23-8F76-466D32DD493E}"/>
            </ac:spMkLst>
          </pc:spChg>
          <pc:spChg chg="add del mod">
            <ac:chgData name="Remi de Vogel" userId="5948360e-7b9c-4a22-9ada-df5e8b901c82" providerId="ADAL" clId="{848B40CD-DCFD-4256-872E-30365CE333A5}" dt="2022-05-25T15:09:14.416" v="788" actId="478"/>
            <ac:spMkLst>
              <pc:docMk/>
              <pc:sldMasterMk cId="259861064" sldId="2147483648"/>
              <pc:sldLayoutMk cId="1508797419" sldId="2147483751"/>
              <ac:spMk id="16" creationId="{6D797A12-ADEE-E4EA-8609-4025D2FA3819}"/>
            </ac:spMkLst>
          </pc:spChg>
          <pc:spChg chg="add mod">
            <ac:chgData name="Remi de Vogel" userId="5948360e-7b9c-4a22-9ada-df5e8b901c82" providerId="ADAL" clId="{848B40CD-DCFD-4256-872E-30365CE333A5}" dt="2022-05-25T15:29:10.892" v="853"/>
            <ac:spMkLst>
              <pc:docMk/>
              <pc:sldMasterMk cId="259861064" sldId="2147483648"/>
              <pc:sldLayoutMk cId="1508797419" sldId="2147483751"/>
              <ac:spMk id="17" creationId="{A46747EC-76D3-7B17-324D-B0C764247D58}"/>
            </ac:spMkLst>
          </pc:spChg>
          <pc:spChg chg="add del mod">
            <ac:chgData name="Remi de Vogel" userId="5948360e-7b9c-4a22-9ada-df5e8b901c82" providerId="ADAL" clId="{848B40CD-DCFD-4256-872E-30365CE333A5}" dt="2022-05-25T15:29:12.613" v="854" actId="478"/>
            <ac:spMkLst>
              <pc:docMk/>
              <pc:sldMasterMk cId="259861064" sldId="2147483648"/>
              <pc:sldLayoutMk cId="1508797419" sldId="2147483751"/>
              <ac:spMk id="18" creationId="{61E2E70D-0EB3-D5A5-DD29-B4BD3CF906E3}"/>
            </ac:spMkLst>
          </pc:spChg>
        </pc:sldLayoutChg>
        <pc:sldLayoutChg chg="addSp delSp modSp add mod modTransition">
          <pc:chgData name="Remi de Vogel" userId="5948360e-7b9c-4a22-9ada-df5e8b901c82" providerId="ADAL" clId="{848B40CD-DCFD-4256-872E-30365CE333A5}" dt="2022-05-25T15:28:39.567" v="838" actId="478"/>
          <pc:sldLayoutMkLst>
            <pc:docMk/>
            <pc:sldMasterMk cId="259861064" sldId="2147483648"/>
            <pc:sldLayoutMk cId="1188870488" sldId="2147483752"/>
          </pc:sldLayoutMkLst>
          <pc:spChg chg="mod">
            <ac:chgData name="Remi de Vogel" userId="5948360e-7b9c-4a22-9ada-df5e8b901c82" providerId="ADAL" clId="{848B40CD-DCFD-4256-872E-30365CE333A5}" dt="2022-05-25T13:52:27.618" v="634" actId="1076"/>
            <ac:spMkLst>
              <pc:docMk/>
              <pc:sldMasterMk cId="259861064" sldId="2147483648"/>
              <pc:sldLayoutMk cId="1188870488" sldId="2147483752"/>
              <ac:spMk id="4" creationId="{00000000-0000-0000-0000-000000000000}"/>
            </ac:spMkLst>
          </pc:spChg>
          <pc:spChg chg="mod">
            <ac:chgData name="Remi de Vogel" userId="5948360e-7b9c-4a22-9ada-df5e8b901c82" providerId="ADAL" clId="{848B40CD-DCFD-4256-872E-30365CE333A5}" dt="2022-05-25T13:52:27.618" v="634" actId="1076"/>
            <ac:spMkLst>
              <pc:docMk/>
              <pc:sldMasterMk cId="259861064" sldId="2147483648"/>
              <pc:sldLayoutMk cId="1188870488" sldId="2147483752"/>
              <ac:spMk id="5" creationId="{00000000-0000-0000-0000-000000000000}"/>
            </ac:spMkLst>
          </pc:spChg>
          <pc:spChg chg="add del">
            <ac:chgData name="Remi de Vogel" userId="5948360e-7b9c-4a22-9ada-df5e8b901c82" providerId="ADAL" clId="{848B40CD-DCFD-4256-872E-30365CE333A5}" dt="2022-05-25T13:40:16.087" v="342" actId="478"/>
            <ac:spMkLst>
              <pc:docMk/>
              <pc:sldMasterMk cId="259861064" sldId="2147483648"/>
              <pc:sldLayoutMk cId="1188870488" sldId="2147483752"/>
              <ac:spMk id="10" creationId="{59676A65-185D-F9D1-A165-09E2E9A75B4C}"/>
            </ac:spMkLst>
          </pc:spChg>
          <pc:spChg chg="add del mod">
            <ac:chgData name="Remi de Vogel" userId="5948360e-7b9c-4a22-9ada-df5e8b901c82" providerId="ADAL" clId="{848B40CD-DCFD-4256-872E-30365CE333A5}" dt="2022-05-25T15:28:29.556" v="835"/>
            <ac:spMkLst>
              <pc:docMk/>
              <pc:sldMasterMk cId="259861064" sldId="2147483648"/>
              <pc:sldLayoutMk cId="1188870488" sldId="2147483752"/>
              <ac:spMk id="13" creationId="{FB8541F3-E92C-8419-6F52-5DBD54AB55BE}"/>
            </ac:spMkLst>
          </pc:spChg>
          <pc:spChg chg="add del mod">
            <ac:chgData name="Remi de Vogel" userId="5948360e-7b9c-4a22-9ada-df5e8b901c82" providerId="ADAL" clId="{848B40CD-DCFD-4256-872E-30365CE333A5}" dt="2022-05-25T13:40:14.273" v="340"/>
            <ac:spMkLst>
              <pc:docMk/>
              <pc:sldMasterMk cId="259861064" sldId="2147483648"/>
              <pc:sldLayoutMk cId="1188870488" sldId="2147483752"/>
              <ac:spMk id="13" creationId="{FD8F9FF5-D4F6-9E26-265D-6594BF12FD33}"/>
            </ac:spMkLst>
          </pc:spChg>
          <pc:spChg chg="add mod ord">
            <ac:chgData name="Remi de Vogel" userId="5948360e-7b9c-4a22-9ada-df5e8b901c82" providerId="ADAL" clId="{848B40CD-DCFD-4256-872E-30365CE333A5}" dt="2022-05-25T13:40:18.432" v="351" actId="167"/>
            <ac:spMkLst>
              <pc:docMk/>
              <pc:sldMasterMk cId="259861064" sldId="2147483648"/>
              <pc:sldLayoutMk cId="1188870488" sldId="2147483752"/>
              <ac:spMk id="14" creationId="{39A7010B-A888-3074-2986-83CA9F35C4DA}"/>
            </ac:spMkLst>
          </pc:spChg>
          <pc:spChg chg="add del mod">
            <ac:chgData name="Remi de Vogel" userId="5948360e-7b9c-4a22-9ada-df5e8b901c82" providerId="ADAL" clId="{848B40CD-DCFD-4256-872E-30365CE333A5}" dt="2022-05-25T15:28:29.556" v="835"/>
            <ac:spMkLst>
              <pc:docMk/>
              <pc:sldMasterMk cId="259861064" sldId="2147483648"/>
              <pc:sldLayoutMk cId="1188870488" sldId="2147483752"/>
              <ac:spMk id="15" creationId="{219CA198-B18B-AA35-489E-787B04DD4C16}"/>
            </ac:spMkLst>
          </pc:spChg>
          <pc:spChg chg="add del mod">
            <ac:chgData name="Remi de Vogel" userId="5948360e-7b9c-4a22-9ada-df5e8b901c82" providerId="ADAL" clId="{848B40CD-DCFD-4256-872E-30365CE333A5}" dt="2022-05-25T13:52:32.393" v="638" actId="478"/>
            <ac:spMkLst>
              <pc:docMk/>
              <pc:sldMasterMk cId="259861064" sldId="2147483648"/>
              <pc:sldLayoutMk cId="1188870488" sldId="2147483752"/>
              <ac:spMk id="15" creationId="{8C65CC6A-28B4-0CF5-9762-E807356F2C9E}"/>
            </ac:spMkLst>
          </pc:spChg>
          <pc:spChg chg="add del mod">
            <ac:chgData name="Remi de Vogel" userId="5948360e-7b9c-4a22-9ada-df5e8b901c82" providerId="ADAL" clId="{848B40CD-DCFD-4256-872E-30365CE333A5}" dt="2022-05-25T13:52:32.393" v="638" actId="478"/>
            <ac:spMkLst>
              <pc:docMk/>
              <pc:sldMasterMk cId="259861064" sldId="2147483648"/>
              <pc:sldLayoutMk cId="1188870488" sldId="2147483752"/>
              <ac:spMk id="16" creationId="{21F1630B-111B-CE27-19FC-DB27E362979D}"/>
            </ac:spMkLst>
          </pc:spChg>
          <pc:spChg chg="add del mod">
            <ac:chgData name="Remi de Vogel" userId="5948360e-7b9c-4a22-9ada-df5e8b901c82" providerId="ADAL" clId="{848B40CD-DCFD-4256-872E-30365CE333A5}" dt="2022-05-25T15:28:29.556" v="835"/>
            <ac:spMkLst>
              <pc:docMk/>
              <pc:sldMasterMk cId="259861064" sldId="2147483648"/>
              <pc:sldLayoutMk cId="1188870488" sldId="2147483752"/>
              <ac:spMk id="16" creationId="{841872EF-566B-6000-193E-2A5C73C52B1B}"/>
            </ac:spMkLst>
          </pc:spChg>
          <pc:spChg chg="add del mod">
            <ac:chgData name="Remi de Vogel" userId="5948360e-7b9c-4a22-9ada-df5e8b901c82" providerId="ADAL" clId="{848B40CD-DCFD-4256-872E-30365CE333A5}" dt="2022-05-25T13:52:32.393" v="638" actId="478"/>
            <ac:spMkLst>
              <pc:docMk/>
              <pc:sldMasterMk cId="259861064" sldId="2147483648"/>
              <pc:sldLayoutMk cId="1188870488" sldId="2147483752"/>
              <ac:spMk id="17" creationId="{3C12F4F9-5DFE-7F20-E65E-CECC49BB3435}"/>
            </ac:spMkLst>
          </pc:spChg>
          <pc:spChg chg="add del mod">
            <ac:chgData name="Remi de Vogel" userId="5948360e-7b9c-4a22-9ada-df5e8b901c82" providerId="ADAL" clId="{848B40CD-DCFD-4256-872E-30365CE333A5}" dt="2022-05-25T15:28:29.556" v="835"/>
            <ac:spMkLst>
              <pc:docMk/>
              <pc:sldMasterMk cId="259861064" sldId="2147483648"/>
              <pc:sldLayoutMk cId="1188870488" sldId="2147483752"/>
              <ac:spMk id="17" creationId="{7B4F94FD-3C4E-2A30-E4D3-35C2D70B8825}"/>
            </ac:spMkLst>
          </pc:spChg>
          <pc:spChg chg="add del mod">
            <ac:chgData name="Remi de Vogel" userId="5948360e-7b9c-4a22-9ada-df5e8b901c82" providerId="ADAL" clId="{848B40CD-DCFD-4256-872E-30365CE333A5}" dt="2022-05-25T15:28:31.621" v="836" actId="478"/>
            <ac:spMkLst>
              <pc:docMk/>
              <pc:sldMasterMk cId="259861064" sldId="2147483648"/>
              <pc:sldLayoutMk cId="1188870488" sldId="2147483752"/>
              <ac:spMk id="18" creationId="{690BC916-040B-BB8F-F1E2-DB4279A98F2B}"/>
            </ac:spMkLst>
          </pc:spChg>
          <pc:spChg chg="add del mod">
            <ac:chgData name="Remi de Vogel" userId="5948360e-7b9c-4a22-9ada-df5e8b901c82" providerId="ADAL" clId="{848B40CD-DCFD-4256-872E-30365CE333A5}" dt="2022-05-25T15:28:39.567" v="838" actId="478"/>
            <ac:spMkLst>
              <pc:docMk/>
              <pc:sldMasterMk cId="259861064" sldId="2147483648"/>
              <pc:sldLayoutMk cId="1188870488" sldId="2147483752"/>
              <ac:spMk id="19" creationId="{164A8573-EDC5-AD22-9C5B-4090C57E979D}"/>
            </ac:spMkLst>
          </pc:spChg>
          <pc:spChg chg="add del mod">
            <ac:chgData name="Remi de Vogel" userId="5948360e-7b9c-4a22-9ada-df5e8b901c82" providerId="ADAL" clId="{848B40CD-DCFD-4256-872E-30365CE333A5}" dt="2022-05-25T15:28:39.567" v="838" actId="478"/>
            <ac:spMkLst>
              <pc:docMk/>
              <pc:sldMasterMk cId="259861064" sldId="2147483648"/>
              <pc:sldLayoutMk cId="1188870488" sldId="2147483752"/>
              <ac:spMk id="20" creationId="{AC6F4410-0AF4-FB9B-A1FC-4D85BEBE9CA3}"/>
            </ac:spMkLst>
          </pc:spChg>
          <pc:spChg chg="add mod">
            <ac:chgData name="Remi de Vogel" userId="5948360e-7b9c-4a22-9ada-df5e8b901c82" providerId="ADAL" clId="{848B40CD-DCFD-4256-872E-30365CE333A5}" dt="2022-05-25T15:28:37.764" v="837"/>
            <ac:spMkLst>
              <pc:docMk/>
              <pc:sldMasterMk cId="259861064" sldId="2147483648"/>
              <pc:sldLayoutMk cId="1188870488" sldId="2147483752"/>
              <ac:spMk id="21" creationId="{A47C7889-E010-1103-AF35-3CB5099B1199}"/>
            </ac:spMkLst>
          </pc:spChg>
          <pc:spChg chg="add del mod">
            <ac:chgData name="Remi de Vogel" userId="5948360e-7b9c-4a22-9ada-df5e8b901c82" providerId="ADAL" clId="{848B40CD-DCFD-4256-872E-30365CE333A5}" dt="2022-05-25T15:28:39.567" v="838" actId="478"/>
            <ac:spMkLst>
              <pc:docMk/>
              <pc:sldMasterMk cId="259861064" sldId="2147483648"/>
              <pc:sldLayoutMk cId="1188870488" sldId="2147483752"/>
              <ac:spMk id="22" creationId="{E444F7AE-E991-0F9E-77FF-AE0BFE08F21B}"/>
            </ac:spMkLst>
          </pc:spChg>
        </pc:sldLayoutChg>
        <pc:sldLayoutChg chg="addSp delSp modSp add mod modTransition">
          <pc:chgData name="Remi de Vogel" userId="5948360e-7b9c-4a22-9ada-df5e8b901c82" providerId="ADAL" clId="{848B40CD-DCFD-4256-872E-30365CE333A5}" dt="2022-05-25T13:51:17.021" v="612" actId="478"/>
          <pc:sldLayoutMkLst>
            <pc:docMk/>
            <pc:sldMasterMk cId="259861064" sldId="2147483648"/>
            <pc:sldLayoutMk cId="917953985" sldId="2147483753"/>
          </pc:sldLayoutMkLst>
          <pc:spChg chg="mod">
            <ac:chgData name="Remi de Vogel" userId="5948360e-7b9c-4a22-9ada-df5e8b901c82" providerId="ADAL" clId="{848B40CD-DCFD-4256-872E-30365CE333A5}" dt="2022-05-25T13:51:09.810" v="610" actId="1076"/>
            <ac:spMkLst>
              <pc:docMk/>
              <pc:sldMasterMk cId="259861064" sldId="2147483648"/>
              <pc:sldLayoutMk cId="917953985" sldId="2147483753"/>
              <ac:spMk id="3" creationId="{00000000-0000-0000-0000-000000000000}"/>
            </ac:spMkLst>
          </pc:spChg>
          <pc:spChg chg="mod">
            <ac:chgData name="Remi de Vogel" userId="5948360e-7b9c-4a22-9ada-df5e8b901c82" providerId="ADAL" clId="{848B40CD-DCFD-4256-872E-30365CE333A5}" dt="2022-05-25T13:51:09.810" v="610" actId="1076"/>
            <ac:spMkLst>
              <pc:docMk/>
              <pc:sldMasterMk cId="259861064" sldId="2147483648"/>
              <pc:sldLayoutMk cId="917953985" sldId="2147483753"/>
              <ac:spMk id="4" creationId="{00000000-0000-0000-0000-000000000000}"/>
            </ac:spMkLst>
          </pc:spChg>
          <pc:spChg chg="mod">
            <ac:chgData name="Remi de Vogel" userId="5948360e-7b9c-4a22-9ada-df5e8b901c82" providerId="ADAL" clId="{848B40CD-DCFD-4256-872E-30365CE333A5}" dt="2022-05-25T13:41:14.463" v="364"/>
            <ac:spMkLst>
              <pc:docMk/>
              <pc:sldMasterMk cId="259861064" sldId="2147483648"/>
              <pc:sldLayoutMk cId="917953985" sldId="2147483753"/>
              <ac:spMk id="10" creationId="{84846EC3-173E-162A-806A-9E9BF68FA666}"/>
            </ac:spMkLst>
          </pc:spChg>
          <pc:spChg chg="mod">
            <ac:chgData name="Remi de Vogel" userId="5948360e-7b9c-4a22-9ada-df5e8b901c82" providerId="ADAL" clId="{848B40CD-DCFD-4256-872E-30365CE333A5}" dt="2022-05-25T13:41:14.463" v="364"/>
            <ac:spMkLst>
              <pc:docMk/>
              <pc:sldMasterMk cId="259861064" sldId="2147483648"/>
              <pc:sldLayoutMk cId="917953985" sldId="2147483753"/>
              <ac:spMk id="11" creationId="{3E7EEF36-700C-412B-EB7E-86731E755993}"/>
            </ac:spMkLst>
          </pc:spChg>
          <pc:spChg chg="mod">
            <ac:chgData name="Remi de Vogel" userId="5948360e-7b9c-4a22-9ada-df5e8b901c82" providerId="ADAL" clId="{848B40CD-DCFD-4256-872E-30365CE333A5}" dt="2022-05-25T13:41:14.463" v="364"/>
            <ac:spMkLst>
              <pc:docMk/>
              <pc:sldMasterMk cId="259861064" sldId="2147483648"/>
              <pc:sldLayoutMk cId="917953985" sldId="2147483753"/>
              <ac:spMk id="12" creationId="{3297D476-F3C7-DB77-6F32-29D354B22594}"/>
            </ac:spMkLst>
          </pc:spChg>
          <pc:spChg chg="mod">
            <ac:chgData name="Remi de Vogel" userId="5948360e-7b9c-4a22-9ada-df5e8b901c82" providerId="ADAL" clId="{848B40CD-DCFD-4256-872E-30365CE333A5}" dt="2022-05-25T13:41:14.463" v="364"/>
            <ac:spMkLst>
              <pc:docMk/>
              <pc:sldMasterMk cId="259861064" sldId="2147483648"/>
              <pc:sldLayoutMk cId="917953985" sldId="2147483753"/>
              <ac:spMk id="13" creationId="{1BA0F67F-EA43-B4F1-C50E-E8676B8765A3}"/>
            </ac:spMkLst>
          </pc:spChg>
          <pc:spChg chg="mod">
            <ac:chgData name="Remi de Vogel" userId="5948360e-7b9c-4a22-9ada-df5e8b901c82" providerId="ADAL" clId="{848B40CD-DCFD-4256-872E-30365CE333A5}" dt="2022-05-25T13:41:14.463" v="364"/>
            <ac:spMkLst>
              <pc:docMk/>
              <pc:sldMasterMk cId="259861064" sldId="2147483648"/>
              <pc:sldLayoutMk cId="917953985" sldId="2147483753"/>
              <ac:spMk id="14" creationId="{6DDAFB45-CE92-4AF9-FD80-7F0506435D7E}"/>
            </ac:spMkLst>
          </pc:spChg>
          <pc:spChg chg="mod">
            <ac:chgData name="Remi de Vogel" userId="5948360e-7b9c-4a22-9ada-df5e8b901c82" providerId="ADAL" clId="{848B40CD-DCFD-4256-872E-30365CE333A5}" dt="2022-05-25T13:41:14.463" v="364"/>
            <ac:spMkLst>
              <pc:docMk/>
              <pc:sldMasterMk cId="259861064" sldId="2147483648"/>
              <pc:sldLayoutMk cId="917953985" sldId="2147483753"/>
              <ac:spMk id="16" creationId="{6DFB279B-DDBD-256A-107E-80A87D5054A1}"/>
            </ac:spMkLst>
          </pc:spChg>
          <pc:spChg chg="add del mod">
            <ac:chgData name="Remi de Vogel" userId="5948360e-7b9c-4a22-9ada-df5e8b901c82" providerId="ADAL" clId="{848B40CD-DCFD-4256-872E-30365CE333A5}" dt="2022-05-25T13:51:04.354" v="609"/>
            <ac:spMkLst>
              <pc:docMk/>
              <pc:sldMasterMk cId="259861064" sldId="2147483648"/>
              <pc:sldLayoutMk cId="917953985" sldId="2147483753"/>
              <ac:spMk id="17" creationId="{C46BD624-4B14-1FEF-AF7C-79DD8076844B}"/>
            </ac:spMkLst>
          </pc:spChg>
          <pc:spChg chg="add del mod">
            <ac:chgData name="Remi de Vogel" userId="5948360e-7b9c-4a22-9ada-df5e8b901c82" providerId="ADAL" clId="{848B40CD-DCFD-4256-872E-30365CE333A5}" dt="2022-05-25T13:51:04.354" v="609"/>
            <ac:spMkLst>
              <pc:docMk/>
              <pc:sldMasterMk cId="259861064" sldId="2147483648"/>
              <pc:sldLayoutMk cId="917953985" sldId="2147483753"/>
              <ac:spMk id="18" creationId="{9648BA81-14B5-8A4F-FADE-9254D2FD629D}"/>
            </ac:spMkLst>
          </pc:spChg>
          <pc:spChg chg="add del mod">
            <ac:chgData name="Remi de Vogel" userId="5948360e-7b9c-4a22-9ada-df5e8b901c82" providerId="ADAL" clId="{848B40CD-DCFD-4256-872E-30365CE333A5}" dt="2022-05-25T13:51:04.354" v="609"/>
            <ac:spMkLst>
              <pc:docMk/>
              <pc:sldMasterMk cId="259861064" sldId="2147483648"/>
              <pc:sldLayoutMk cId="917953985" sldId="2147483753"/>
              <ac:spMk id="19" creationId="{8E510769-790E-5B74-027C-B5675C6907C9}"/>
            </ac:spMkLst>
          </pc:spChg>
          <pc:spChg chg="add del mod">
            <ac:chgData name="Remi de Vogel" userId="5948360e-7b9c-4a22-9ada-df5e8b901c82" providerId="ADAL" clId="{848B40CD-DCFD-4256-872E-30365CE333A5}" dt="2022-05-25T13:51:04.354" v="609"/>
            <ac:spMkLst>
              <pc:docMk/>
              <pc:sldMasterMk cId="259861064" sldId="2147483648"/>
              <pc:sldLayoutMk cId="917953985" sldId="2147483753"/>
              <ac:spMk id="20" creationId="{BC176F3B-CC17-0A13-8C4B-1A300B485C6C}"/>
            </ac:spMkLst>
          </pc:spChg>
          <pc:spChg chg="add del mod">
            <ac:chgData name="Remi de Vogel" userId="5948360e-7b9c-4a22-9ada-df5e8b901c82" providerId="ADAL" clId="{848B40CD-DCFD-4256-872E-30365CE333A5}" dt="2022-05-25T13:51:17.021" v="612" actId="478"/>
            <ac:spMkLst>
              <pc:docMk/>
              <pc:sldMasterMk cId="259861064" sldId="2147483648"/>
              <pc:sldLayoutMk cId="917953985" sldId="2147483753"/>
              <ac:spMk id="21" creationId="{5401B00B-9F19-3199-DA38-51441B7FE502}"/>
            </ac:spMkLst>
          </pc:spChg>
          <pc:spChg chg="add del mod">
            <ac:chgData name="Remi de Vogel" userId="5948360e-7b9c-4a22-9ada-df5e8b901c82" providerId="ADAL" clId="{848B40CD-DCFD-4256-872E-30365CE333A5}" dt="2022-05-25T13:51:17.021" v="612" actId="478"/>
            <ac:spMkLst>
              <pc:docMk/>
              <pc:sldMasterMk cId="259861064" sldId="2147483648"/>
              <pc:sldLayoutMk cId="917953985" sldId="2147483753"/>
              <ac:spMk id="22" creationId="{D7CC9B3C-0563-3C6B-47AB-CBA57D487B94}"/>
            </ac:spMkLst>
          </pc:spChg>
          <pc:spChg chg="add del mod">
            <ac:chgData name="Remi de Vogel" userId="5948360e-7b9c-4a22-9ada-df5e8b901c82" providerId="ADAL" clId="{848B40CD-DCFD-4256-872E-30365CE333A5}" dt="2022-05-25T13:51:17.021" v="612" actId="478"/>
            <ac:spMkLst>
              <pc:docMk/>
              <pc:sldMasterMk cId="259861064" sldId="2147483648"/>
              <pc:sldLayoutMk cId="917953985" sldId="2147483753"/>
              <ac:spMk id="23" creationId="{3F361D64-C307-9DB4-FD83-1E7993950089}"/>
            </ac:spMkLst>
          </pc:spChg>
          <pc:spChg chg="add mod">
            <ac:chgData name="Remi de Vogel" userId="5948360e-7b9c-4a22-9ada-df5e8b901c82" providerId="ADAL" clId="{848B40CD-DCFD-4256-872E-30365CE333A5}" dt="2022-05-25T13:51:13.999" v="611"/>
            <ac:spMkLst>
              <pc:docMk/>
              <pc:sldMasterMk cId="259861064" sldId="2147483648"/>
              <pc:sldLayoutMk cId="917953985" sldId="2147483753"/>
              <ac:spMk id="24" creationId="{B8F81C8A-A16C-4146-706B-560FFD6436CD}"/>
            </ac:spMkLst>
          </pc:spChg>
          <pc:grpChg chg="add mod ord">
            <ac:chgData name="Remi de Vogel" userId="5948360e-7b9c-4a22-9ada-df5e8b901c82" providerId="ADAL" clId="{848B40CD-DCFD-4256-872E-30365CE333A5}" dt="2022-05-25T13:41:16.883" v="383" actId="167"/>
            <ac:grpSpMkLst>
              <pc:docMk/>
              <pc:sldMasterMk cId="259861064" sldId="2147483648"/>
              <pc:sldLayoutMk cId="917953985" sldId="2147483753"/>
              <ac:grpSpMk id="9" creationId="{A6009A2C-C71D-506D-5135-CF5A31438847}"/>
            </ac:grpSpMkLst>
          </pc:grpChg>
        </pc:sldLayoutChg>
        <pc:sldLayoutChg chg="addSp delSp modSp add del mod modTransition">
          <pc:chgData name="Remi de Vogel" userId="5948360e-7b9c-4a22-9ada-df5e8b901c82" providerId="ADAL" clId="{848B40CD-DCFD-4256-872E-30365CE333A5}" dt="2022-05-25T13:43:14.495" v="431" actId="2696"/>
          <pc:sldLayoutMkLst>
            <pc:docMk/>
            <pc:sldMasterMk cId="259861064" sldId="2147483648"/>
            <pc:sldLayoutMk cId="515884664" sldId="2147483754"/>
          </pc:sldLayoutMkLst>
          <pc:spChg chg="add mod ord">
            <ac:chgData name="Remi de Vogel" userId="5948360e-7b9c-4a22-9ada-df5e8b901c82" providerId="ADAL" clId="{848B40CD-DCFD-4256-872E-30365CE333A5}" dt="2022-05-25T13:42:49.508" v="422" actId="1076"/>
            <ac:spMkLst>
              <pc:docMk/>
              <pc:sldMasterMk cId="259861064" sldId="2147483648"/>
              <pc:sldLayoutMk cId="515884664" sldId="2147483754"/>
              <ac:spMk id="10" creationId="{0B5CAAF6-9F38-06AE-5B57-CC3703EA7A3A}"/>
            </ac:spMkLst>
          </pc:spChg>
          <pc:spChg chg="del mod">
            <ac:chgData name="Remi de Vogel" userId="5948360e-7b9c-4a22-9ada-df5e8b901c82" providerId="ADAL" clId="{848B40CD-DCFD-4256-872E-30365CE333A5}" dt="2022-05-25T13:42:05.943" v="394" actId="478"/>
            <ac:spMkLst>
              <pc:docMk/>
              <pc:sldMasterMk cId="259861064" sldId="2147483648"/>
              <pc:sldLayoutMk cId="515884664" sldId="2147483754"/>
              <ac:spMk id="13" creationId="{2E2663C1-01FA-03BC-2756-3DE4BC7905A0}"/>
            </ac:spMkLst>
          </pc:spChg>
        </pc:sldLayoutChg>
        <pc:sldLayoutChg chg="addSp delSp modSp add mod ord modTransition">
          <pc:chgData name="Remi de Vogel" userId="5948360e-7b9c-4a22-9ada-df5e8b901c82" providerId="ADAL" clId="{848B40CD-DCFD-4256-872E-30365CE333A5}" dt="2022-05-25T15:28:22.574" v="830" actId="478"/>
          <pc:sldLayoutMkLst>
            <pc:docMk/>
            <pc:sldMasterMk cId="259861064" sldId="2147483648"/>
            <pc:sldLayoutMk cId="1136926880" sldId="2147483755"/>
          </pc:sldLayoutMkLst>
          <pc:spChg chg="mod">
            <ac:chgData name="Remi de Vogel" userId="5948360e-7b9c-4a22-9ada-df5e8b901c82" providerId="ADAL" clId="{848B40CD-DCFD-4256-872E-30365CE333A5}" dt="2022-05-25T13:51:54.204" v="622" actId="1076"/>
            <ac:spMkLst>
              <pc:docMk/>
              <pc:sldMasterMk cId="259861064" sldId="2147483648"/>
              <pc:sldLayoutMk cId="1136926880" sldId="2147483755"/>
              <ac:spMk id="5" creationId="{00000000-0000-0000-0000-000000000000}"/>
            </ac:spMkLst>
          </pc:spChg>
          <pc:spChg chg="mod">
            <ac:chgData name="Remi de Vogel" userId="5948360e-7b9c-4a22-9ada-df5e8b901c82" providerId="ADAL" clId="{848B40CD-DCFD-4256-872E-30365CE333A5}" dt="2022-05-25T13:51:54.204" v="622" actId="1076"/>
            <ac:spMkLst>
              <pc:docMk/>
              <pc:sldMasterMk cId="259861064" sldId="2147483648"/>
              <pc:sldLayoutMk cId="1136926880" sldId="2147483755"/>
              <ac:spMk id="6" creationId="{00000000-0000-0000-0000-000000000000}"/>
            </ac:spMkLst>
          </pc:spChg>
          <pc:spChg chg="mod">
            <ac:chgData name="Remi de Vogel" userId="5948360e-7b9c-4a22-9ada-df5e8b901c82" providerId="ADAL" clId="{848B40CD-DCFD-4256-872E-30365CE333A5}" dt="2022-05-25T13:43:02.339" v="430" actId="207"/>
            <ac:spMkLst>
              <pc:docMk/>
              <pc:sldMasterMk cId="259861064" sldId="2147483648"/>
              <pc:sldLayoutMk cId="1136926880" sldId="2147483755"/>
              <ac:spMk id="7" creationId="{00000000-0000-0000-0000-000000000000}"/>
            </ac:spMkLst>
          </pc:spChg>
          <pc:spChg chg="add mod ord">
            <ac:chgData name="Remi de Vogel" userId="5948360e-7b9c-4a22-9ada-df5e8b901c82" providerId="ADAL" clId="{848B40CD-DCFD-4256-872E-30365CE333A5}" dt="2022-05-25T13:42:57.914" v="429" actId="167"/>
            <ac:spMkLst>
              <pc:docMk/>
              <pc:sldMasterMk cId="259861064" sldId="2147483648"/>
              <pc:sldLayoutMk cId="1136926880" sldId="2147483755"/>
              <ac:spMk id="8" creationId="{087210DC-EE78-4825-1A98-836EF9B03FD0}"/>
            </ac:spMkLst>
          </pc:spChg>
          <pc:spChg chg="add del mod">
            <ac:chgData name="Remi de Vogel" userId="5948360e-7b9c-4a22-9ada-df5e8b901c82" providerId="ADAL" clId="{848B40CD-DCFD-4256-872E-30365CE333A5}" dt="2022-05-25T13:51:59.005" v="626" actId="478"/>
            <ac:spMkLst>
              <pc:docMk/>
              <pc:sldMasterMk cId="259861064" sldId="2147483648"/>
              <pc:sldLayoutMk cId="1136926880" sldId="2147483755"/>
              <ac:spMk id="9" creationId="{E9323B43-C1AB-EE89-D548-DBFA126C5F96}"/>
            </ac:spMkLst>
          </pc:spChg>
          <pc:spChg chg="add del mod">
            <ac:chgData name="Remi de Vogel" userId="5948360e-7b9c-4a22-9ada-df5e8b901c82" providerId="ADAL" clId="{848B40CD-DCFD-4256-872E-30365CE333A5}" dt="2022-05-25T13:51:59.005" v="626" actId="478"/>
            <ac:spMkLst>
              <pc:docMk/>
              <pc:sldMasterMk cId="259861064" sldId="2147483648"/>
              <pc:sldLayoutMk cId="1136926880" sldId="2147483755"/>
              <ac:spMk id="10" creationId="{013E64FA-6904-3D36-686E-7C3B3858EB3E}"/>
            </ac:spMkLst>
          </pc:spChg>
          <pc:spChg chg="add del mod">
            <ac:chgData name="Remi de Vogel" userId="5948360e-7b9c-4a22-9ada-df5e8b901c82" providerId="ADAL" clId="{848B40CD-DCFD-4256-872E-30365CE333A5}" dt="2022-05-25T15:28:22.574" v="830" actId="478"/>
            <ac:spMkLst>
              <pc:docMk/>
              <pc:sldMasterMk cId="259861064" sldId="2147483648"/>
              <pc:sldLayoutMk cId="1136926880" sldId="2147483755"/>
              <ac:spMk id="10" creationId="{4054A82C-B60F-13A2-0507-C9EB03F85761}"/>
            </ac:spMkLst>
          </pc:spChg>
          <pc:spChg chg="add del mod">
            <ac:chgData name="Remi de Vogel" userId="5948360e-7b9c-4a22-9ada-df5e8b901c82" providerId="ADAL" clId="{848B40CD-DCFD-4256-872E-30365CE333A5}" dt="2022-05-25T13:51:59.005" v="626" actId="478"/>
            <ac:spMkLst>
              <pc:docMk/>
              <pc:sldMasterMk cId="259861064" sldId="2147483648"/>
              <pc:sldLayoutMk cId="1136926880" sldId="2147483755"/>
              <ac:spMk id="11" creationId="{0162B16A-6802-F2A6-5CBF-6360278E38CE}"/>
            </ac:spMkLst>
          </pc:spChg>
          <pc:spChg chg="add del mod">
            <ac:chgData name="Remi de Vogel" userId="5948360e-7b9c-4a22-9ada-df5e8b901c82" providerId="ADAL" clId="{848B40CD-DCFD-4256-872E-30365CE333A5}" dt="2022-05-25T15:28:22.574" v="830" actId="478"/>
            <ac:spMkLst>
              <pc:docMk/>
              <pc:sldMasterMk cId="259861064" sldId="2147483648"/>
              <pc:sldLayoutMk cId="1136926880" sldId="2147483755"/>
              <ac:spMk id="11" creationId="{DF196285-4181-13A1-8B72-9553CB13F0BF}"/>
            </ac:spMkLst>
          </pc:spChg>
          <pc:spChg chg="add del mod">
            <ac:chgData name="Remi de Vogel" userId="5948360e-7b9c-4a22-9ada-df5e8b901c82" providerId="ADAL" clId="{848B40CD-DCFD-4256-872E-30365CE333A5}" dt="2022-05-25T15:28:20.187" v="828" actId="478"/>
            <ac:spMkLst>
              <pc:docMk/>
              <pc:sldMasterMk cId="259861064" sldId="2147483648"/>
              <pc:sldLayoutMk cId="1136926880" sldId="2147483755"/>
              <ac:spMk id="13" creationId="{B965F716-AE45-1F02-F8B8-C78C4F62D004}"/>
            </ac:spMkLst>
          </pc:spChg>
          <pc:spChg chg="add mod">
            <ac:chgData name="Remi de Vogel" userId="5948360e-7b9c-4a22-9ada-df5e8b901c82" providerId="ADAL" clId="{848B40CD-DCFD-4256-872E-30365CE333A5}" dt="2022-05-25T15:28:20.893" v="829"/>
            <ac:spMkLst>
              <pc:docMk/>
              <pc:sldMasterMk cId="259861064" sldId="2147483648"/>
              <pc:sldLayoutMk cId="1136926880" sldId="2147483755"/>
              <ac:spMk id="14" creationId="{808D7597-39B1-A00F-8B3C-06F3FFBA3DC8}"/>
            </ac:spMkLst>
          </pc:spChg>
          <pc:spChg chg="add del mod">
            <ac:chgData name="Remi de Vogel" userId="5948360e-7b9c-4a22-9ada-df5e8b901c82" providerId="ADAL" clId="{848B40CD-DCFD-4256-872E-30365CE333A5}" dt="2022-05-25T15:28:22.574" v="830" actId="478"/>
            <ac:spMkLst>
              <pc:docMk/>
              <pc:sldMasterMk cId="259861064" sldId="2147483648"/>
              <pc:sldLayoutMk cId="1136926880" sldId="2147483755"/>
              <ac:spMk id="17" creationId="{80175173-F6F2-52D5-188B-CB283E631E9F}"/>
            </ac:spMkLst>
          </pc:spChg>
        </pc:sldLayoutChg>
        <pc:sldLayoutChg chg="addSp delSp modSp add mod modTransition">
          <pc:chgData name="Remi de Vogel" userId="5948360e-7b9c-4a22-9ada-df5e8b901c82" providerId="ADAL" clId="{848B40CD-DCFD-4256-872E-30365CE333A5}" dt="2022-05-25T15:28:53.312" v="844" actId="478"/>
          <pc:sldLayoutMkLst>
            <pc:docMk/>
            <pc:sldMasterMk cId="259861064" sldId="2147483648"/>
            <pc:sldLayoutMk cId="4179096786" sldId="2147483756"/>
          </pc:sldLayoutMkLst>
          <pc:spChg chg="mod">
            <ac:chgData name="Remi de Vogel" userId="5948360e-7b9c-4a22-9ada-df5e8b901c82" providerId="ADAL" clId="{848B40CD-DCFD-4256-872E-30365CE333A5}" dt="2022-05-25T13:52:47.316" v="644" actId="1076"/>
            <ac:spMkLst>
              <pc:docMk/>
              <pc:sldMasterMk cId="259861064" sldId="2147483648"/>
              <pc:sldLayoutMk cId="4179096786" sldId="2147483756"/>
              <ac:spMk id="4" creationId="{00000000-0000-0000-0000-000000000000}"/>
            </ac:spMkLst>
          </pc:spChg>
          <pc:spChg chg="mod">
            <ac:chgData name="Remi de Vogel" userId="5948360e-7b9c-4a22-9ada-df5e8b901c82" providerId="ADAL" clId="{848B40CD-DCFD-4256-872E-30365CE333A5}" dt="2022-05-25T13:52:47.316" v="644" actId="1076"/>
            <ac:spMkLst>
              <pc:docMk/>
              <pc:sldMasterMk cId="259861064" sldId="2147483648"/>
              <pc:sldLayoutMk cId="4179096786" sldId="2147483756"/>
              <ac:spMk id="5" creationId="{00000000-0000-0000-0000-000000000000}"/>
            </ac:spMkLst>
          </pc:spChg>
          <pc:spChg chg="del mod">
            <ac:chgData name="Remi de Vogel" userId="5948360e-7b9c-4a22-9ada-df5e8b901c82" providerId="ADAL" clId="{848B40CD-DCFD-4256-872E-30365CE333A5}" dt="2022-05-25T13:44:01.629" v="443" actId="478"/>
            <ac:spMkLst>
              <pc:docMk/>
              <pc:sldMasterMk cId="259861064" sldId="2147483648"/>
              <pc:sldLayoutMk cId="4179096786" sldId="2147483756"/>
              <ac:spMk id="10" creationId="{9CD77FC5-C010-3CBE-0C9A-3885F1EC4CC0}"/>
            </ac:spMkLst>
          </pc:spChg>
          <pc:spChg chg="add mod ord">
            <ac:chgData name="Remi de Vogel" userId="5948360e-7b9c-4a22-9ada-df5e8b901c82" providerId="ADAL" clId="{848B40CD-DCFD-4256-872E-30365CE333A5}" dt="2022-05-25T13:44:05.370" v="473" actId="167"/>
            <ac:spMkLst>
              <pc:docMk/>
              <pc:sldMasterMk cId="259861064" sldId="2147483648"/>
              <pc:sldLayoutMk cId="4179096786" sldId="2147483756"/>
              <ac:spMk id="13" creationId="{EEE988E6-FE6F-91CA-85D8-CBF990995FBD}"/>
            </ac:spMkLst>
          </pc:spChg>
          <pc:spChg chg="add del mod">
            <ac:chgData name="Remi de Vogel" userId="5948360e-7b9c-4a22-9ada-df5e8b901c82" providerId="ADAL" clId="{848B40CD-DCFD-4256-872E-30365CE333A5}" dt="2022-05-25T15:28:53.312" v="844" actId="478"/>
            <ac:spMkLst>
              <pc:docMk/>
              <pc:sldMasterMk cId="259861064" sldId="2147483648"/>
              <pc:sldLayoutMk cId="4179096786" sldId="2147483756"/>
              <ac:spMk id="14" creationId="{5236FCB4-5D80-BE29-F8A1-05A9446BD979}"/>
            </ac:spMkLst>
          </pc:spChg>
          <pc:spChg chg="add del mod">
            <ac:chgData name="Remi de Vogel" userId="5948360e-7b9c-4a22-9ada-df5e8b901c82" providerId="ADAL" clId="{848B40CD-DCFD-4256-872E-30365CE333A5}" dt="2022-05-25T13:52:57.413" v="649" actId="478"/>
            <ac:spMkLst>
              <pc:docMk/>
              <pc:sldMasterMk cId="259861064" sldId="2147483648"/>
              <pc:sldLayoutMk cId="4179096786" sldId="2147483756"/>
              <ac:spMk id="14" creationId="{52DEB8B9-53F4-B69D-1B8C-2BDE3ECC6BB6}"/>
            </ac:spMkLst>
          </pc:spChg>
          <pc:spChg chg="add del mod">
            <ac:chgData name="Remi de Vogel" userId="5948360e-7b9c-4a22-9ada-df5e8b901c82" providerId="ADAL" clId="{848B40CD-DCFD-4256-872E-30365CE333A5}" dt="2022-05-25T15:28:53.312" v="844" actId="478"/>
            <ac:spMkLst>
              <pc:docMk/>
              <pc:sldMasterMk cId="259861064" sldId="2147483648"/>
              <pc:sldLayoutMk cId="4179096786" sldId="2147483756"/>
              <ac:spMk id="15" creationId="{2C7E9BD0-3E2A-7849-FCD2-1036A4BF50D1}"/>
            </ac:spMkLst>
          </pc:spChg>
          <pc:spChg chg="add del mod">
            <ac:chgData name="Remi de Vogel" userId="5948360e-7b9c-4a22-9ada-df5e8b901c82" providerId="ADAL" clId="{848B40CD-DCFD-4256-872E-30365CE333A5}" dt="2022-05-25T13:53:06.979" v="651" actId="478"/>
            <ac:spMkLst>
              <pc:docMk/>
              <pc:sldMasterMk cId="259861064" sldId="2147483648"/>
              <pc:sldLayoutMk cId="4179096786" sldId="2147483756"/>
              <ac:spMk id="15" creationId="{C4720A93-1219-4C87-1027-E4A1DFC033B0}"/>
            </ac:spMkLst>
          </pc:spChg>
          <pc:spChg chg="add del mod">
            <ac:chgData name="Remi de Vogel" userId="5948360e-7b9c-4a22-9ada-df5e8b901c82" providerId="ADAL" clId="{848B40CD-DCFD-4256-872E-30365CE333A5}" dt="2022-05-25T15:28:53.312" v="844" actId="478"/>
            <ac:spMkLst>
              <pc:docMk/>
              <pc:sldMasterMk cId="259861064" sldId="2147483648"/>
              <pc:sldLayoutMk cId="4179096786" sldId="2147483756"/>
              <ac:spMk id="16" creationId="{007B2D8F-B508-D75B-C1DE-998045973294}"/>
            </ac:spMkLst>
          </pc:spChg>
          <pc:spChg chg="add del mod">
            <ac:chgData name="Remi de Vogel" userId="5948360e-7b9c-4a22-9ada-df5e8b901c82" providerId="ADAL" clId="{848B40CD-DCFD-4256-872E-30365CE333A5}" dt="2022-05-25T13:53:06.546" v="650" actId="478"/>
            <ac:spMkLst>
              <pc:docMk/>
              <pc:sldMasterMk cId="259861064" sldId="2147483648"/>
              <pc:sldLayoutMk cId="4179096786" sldId="2147483756"/>
              <ac:spMk id="16" creationId="{10BFAA0C-283B-5EB8-7001-2CA124E0E977}"/>
            </ac:spMkLst>
          </pc:spChg>
          <pc:spChg chg="add mod">
            <ac:chgData name="Remi de Vogel" userId="5948360e-7b9c-4a22-9ada-df5e8b901c82" providerId="ADAL" clId="{848B40CD-DCFD-4256-872E-30365CE333A5}" dt="2022-05-25T15:28:51.783" v="843"/>
            <ac:spMkLst>
              <pc:docMk/>
              <pc:sldMasterMk cId="259861064" sldId="2147483648"/>
              <pc:sldLayoutMk cId="4179096786" sldId="2147483756"/>
              <ac:spMk id="17" creationId="{72B4C205-768F-4664-2DE3-911965BAA5C3}"/>
            </ac:spMkLst>
          </pc:spChg>
          <pc:spChg chg="add del mod">
            <ac:chgData name="Remi de Vogel" userId="5948360e-7b9c-4a22-9ada-df5e8b901c82" providerId="ADAL" clId="{848B40CD-DCFD-4256-872E-30365CE333A5}" dt="2022-05-25T13:53:09.128" v="652" actId="478"/>
            <ac:spMkLst>
              <pc:docMk/>
              <pc:sldMasterMk cId="259861064" sldId="2147483648"/>
              <pc:sldLayoutMk cId="4179096786" sldId="2147483756"/>
              <ac:spMk id="17" creationId="{B91A34CB-AB0E-EFBC-20B4-F8D974AEB33B}"/>
            </ac:spMkLst>
          </pc:spChg>
          <pc:spChg chg="add del mod">
            <ac:chgData name="Remi de Vogel" userId="5948360e-7b9c-4a22-9ada-df5e8b901c82" providerId="ADAL" clId="{848B40CD-DCFD-4256-872E-30365CE333A5}" dt="2022-05-25T15:10:55.401" v="804" actId="478"/>
            <ac:spMkLst>
              <pc:docMk/>
              <pc:sldMasterMk cId="259861064" sldId="2147483648"/>
              <pc:sldLayoutMk cId="4179096786" sldId="2147483756"/>
              <ac:spMk id="18" creationId="{6E686DC7-566C-6A94-FE5E-926BFE8FD7AF}"/>
            </ac:spMkLst>
          </pc:spChg>
          <pc:spChg chg="add del mod">
            <ac:chgData name="Remi de Vogel" userId="5948360e-7b9c-4a22-9ada-df5e8b901c82" providerId="ADAL" clId="{848B40CD-DCFD-4256-872E-30365CE333A5}" dt="2022-05-25T15:28:53.312" v="844" actId="478"/>
            <ac:spMkLst>
              <pc:docMk/>
              <pc:sldMasterMk cId="259861064" sldId="2147483648"/>
              <pc:sldLayoutMk cId="4179096786" sldId="2147483756"/>
              <ac:spMk id="18" creationId="{E976D799-E4B5-2DDA-5E8C-B0142CCA3980}"/>
            </ac:spMkLst>
          </pc:spChg>
          <pc:spChg chg="add del mod">
            <ac:chgData name="Remi de Vogel" userId="5948360e-7b9c-4a22-9ada-df5e8b901c82" providerId="ADAL" clId="{848B40CD-DCFD-4256-872E-30365CE333A5}" dt="2022-05-25T15:10:55.401" v="804" actId="478"/>
            <ac:spMkLst>
              <pc:docMk/>
              <pc:sldMasterMk cId="259861064" sldId="2147483648"/>
              <pc:sldLayoutMk cId="4179096786" sldId="2147483756"/>
              <ac:spMk id="19" creationId="{1D94506D-83C6-9E5A-5564-9C7F1E5E75C7}"/>
            </ac:spMkLst>
          </pc:spChg>
          <pc:spChg chg="add del mod">
            <ac:chgData name="Remi de Vogel" userId="5948360e-7b9c-4a22-9ada-df5e8b901c82" providerId="ADAL" clId="{848B40CD-DCFD-4256-872E-30365CE333A5}" dt="2022-05-25T15:28:53.312" v="844" actId="478"/>
            <ac:spMkLst>
              <pc:docMk/>
              <pc:sldMasterMk cId="259861064" sldId="2147483648"/>
              <pc:sldLayoutMk cId="4179096786" sldId="2147483756"/>
              <ac:spMk id="20" creationId="{1193EB03-2D3C-C899-745E-2EAEAEAA45F1}"/>
            </ac:spMkLst>
          </pc:spChg>
          <pc:spChg chg="add del mod">
            <ac:chgData name="Remi de Vogel" userId="5948360e-7b9c-4a22-9ada-df5e8b901c82" providerId="ADAL" clId="{848B40CD-DCFD-4256-872E-30365CE333A5}" dt="2022-05-25T15:14:17.268" v="806" actId="478"/>
            <ac:spMkLst>
              <pc:docMk/>
              <pc:sldMasterMk cId="259861064" sldId="2147483648"/>
              <pc:sldLayoutMk cId="4179096786" sldId="2147483756"/>
              <ac:spMk id="21" creationId="{B7EBB310-3C0C-74CE-1B29-2404AF156E56}"/>
            </ac:spMkLst>
          </pc:spChg>
          <pc:spChg chg="add del mod">
            <ac:chgData name="Remi de Vogel" userId="5948360e-7b9c-4a22-9ada-df5e8b901c82" providerId="ADAL" clId="{848B40CD-DCFD-4256-872E-30365CE333A5}" dt="2022-05-25T15:28:49.144" v="842" actId="478"/>
            <ac:spMkLst>
              <pc:docMk/>
              <pc:sldMasterMk cId="259861064" sldId="2147483648"/>
              <pc:sldLayoutMk cId="4179096786" sldId="2147483756"/>
              <ac:spMk id="22" creationId="{C9CFAC93-4E87-2BB0-9C02-51D7AD9E647A}"/>
            </ac:spMkLst>
          </pc:spChg>
        </pc:sldLayoutChg>
        <pc:sldLayoutChg chg="addSp delSp modSp add del mod modTransition">
          <pc:chgData name="Remi de Vogel" userId="5948360e-7b9c-4a22-9ada-df5e8b901c82" providerId="ADAL" clId="{848B40CD-DCFD-4256-872E-30365CE333A5}" dt="2022-05-25T13:45:25.360" v="538" actId="2890"/>
          <pc:sldLayoutMkLst>
            <pc:docMk/>
            <pc:sldMasterMk cId="259861064" sldId="2147483648"/>
            <pc:sldLayoutMk cId="303423178" sldId="2147483757"/>
          </pc:sldLayoutMkLst>
          <pc:spChg chg="mod">
            <ac:chgData name="Remi de Vogel" userId="5948360e-7b9c-4a22-9ada-df5e8b901c82" providerId="ADAL" clId="{848B40CD-DCFD-4256-872E-30365CE333A5}" dt="2022-05-25T13:44:53.826" v="525" actId="207"/>
            <ac:spMkLst>
              <pc:docMk/>
              <pc:sldMasterMk cId="259861064" sldId="2147483648"/>
              <pc:sldLayoutMk cId="303423178" sldId="2147483757"/>
              <ac:spMk id="3" creationId="{00000000-0000-0000-0000-000000000000}"/>
            </ac:spMkLst>
          </pc:spChg>
          <pc:spChg chg="mod">
            <ac:chgData name="Remi de Vogel" userId="5948360e-7b9c-4a22-9ada-df5e8b901c82" providerId="ADAL" clId="{848B40CD-DCFD-4256-872E-30365CE333A5}" dt="2022-05-25T13:44:53.826" v="525" actId="207"/>
            <ac:spMkLst>
              <pc:docMk/>
              <pc:sldMasterMk cId="259861064" sldId="2147483648"/>
              <pc:sldLayoutMk cId="303423178" sldId="2147483757"/>
              <ac:spMk id="5" creationId="{00000000-0000-0000-0000-000000000000}"/>
            </ac:spMkLst>
          </pc:spChg>
          <pc:spChg chg="add del mod ord">
            <ac:chgData name="Remi de Vogel" userId="5948360e-7b9c-4a22-9ada-df5e8b901c82" providerId="ADAL" clId="{848B40CD-DCFD-4256-872E-30365CE333A5}" dt="2022-05-25T13:45:25.075" v="537"/>
            <ac:spMkLst>
              <pc:docMk/>
              <pc:sldMasterMk cId="259861064" sldId="2147483648"/>
              <pc:sldLayoutMk cId="303423178" sldId="2147483757"/>
              <ac:spMk id="9" creationId="{E9A4412C-C082-AFB2-763D-86934BC8A4CE}"/>
            </ac:spMkLst>
          </pc:spChg>
        </pc:sldLayoutChg>
        <pc:sldLayoutChg chg="addSp delSp modSp add mod modTransition">
          <pc:chgData name="Remi de Vogel" userId="5948360e-7b9c-4a22-9ada-df5e8b901c82" providerId="ADAL" clId="{848B40CD-DCFD-4256-872E-30365CE333A5}" dt="2022-05-25T13:50:56.494" v="607" actId="478"/>
          <pc:sldLayoutMkLst>
            <pc:docMk/>
            <pc:sldMasterMk cId="259861064" sldId="2147483648"/>
            <pc:sldLayoutMk cId="1684104910" sldId="2147483757"/>
          </pc:sldLayoutMkLst>
          <pc:spChg chg="mod">
            <ac:chgData name="Remi de Vogel" userId="5948360e-7b9c-4a22-9ada-df5e8b901c82" providerId="ADAL" clId="{848B40CD-DCFD-4256-872E-30365CE333A5}" dt="2022-05-25T13:50:25.475" v="601" actId="1076"/>
            <ac:spMkLst>
              <pc:docMk/>
              <pc:sldMasterMk cId="259861064" sldId="2147483648"/>
              <pc:sldLayoutMk cId="1684104910" sldId="2147483757"/>
              <ac:spMk id="5" creationId="{00000000-0000-0000-0000-000000000000}"/>
            </ac:spMkLst>
          </pc:spChg>
          <pc:spChg chg="mod">
            <ac:chgData name="Remi de Vogel" userId="5948360e-7b9c-4a22-9ada-df5e8b901c82" providerId="ADAL" clId="{848B40CD-DCFD-4256-872E-30365CE333A5}" dt="2022-05-25T13:50:30.443" v="603" actId="1076"/>
            <ac:spMkLst>
              <pc:docMk/>
              <pc:sldMasterMk cId="259861064" sldId="2147483648"/>
              <pc:sldLayoutMk cId="1684104910" sldId="2147483757"/>
              <ac:spMk id="6" creationId="{00000000-0000-0000-0000-000000000000}"/>
            </ac:spMkLst>
          </pc:spChg>
          <pc:spChg chg="mod">
            <ac:chgData name="Remi de Vogel" userId="5948360e-7b9c-4a22-9ada-df5e8b901c82" providerId="ADAL" clId="{848B40CD-DCFD-4256-872E-30365CE333A5}" dt="2022-05-25T13:46:43.855" v="583" actId="207"/>
            <ac:spMkLst>
              <pc:docMk/>
              <pc:sldMasterMk cId="259861064" sldId="2147483648"/>
              <pc:sldLayoutMk cId="1684104910" sldId="2147483757"/>
              <ac:spMk id="7" creationId="{00000000-0000-0000-0000-000000000000}"/>
            </ac:spMkLst>
          </pc:spChg>
          <pc:spChg chg="add mod ord">
            <ac:chgData name="Remi de Vogel" userId="5948360e-7b9c-4a22-9ada-df5e8b901c82" providerId="ADAL" clId="{848B40CD-DCFD-4256-872E-30365CE333A5}" dt="2022-05-25T13:46:01.171" v="561" actId="167"/>
            <ac:spMkLst>
              <pc:docMk/>
              <pc:sldMasterMk cId="259861064" sldId="2147483648"/>
              <pc:sldLayoutMk cId="1684104910" sldId="2147483757"/>
              <ac:spMk id="8" creationId="{313AD5BD-8689-8860-E466-DD181039C8B1}"/>
            </ac:spMkLst>
          </pc:spChg>
          <pc:spChg chg="add del mod">
            <ac:chgData name="Remi de Vogel" userId="5948360e-7b9c-4a22-9ada-df5e8b901c82" providerId="ADAL" clId="{848B40CD-DCFD-4256-872E-30365CE333A5}" dt="2022-05-25T13:46:07.893" v="563"/>
            <ac:spMkLst>
              <pc:docMk/>
              <pc:sldMasterMk cId="259861064" sldId="2147483648"/>
              <pc:sldLayoutMk cId="1684104910" sldId="2147483757"/>
              <ac:spMk id="9" creationId="{9579BF60-80DF-142E-3EEC-319C35D0CF19}"/>
            </ac:spMkLst>
          </pc:spChg>
          <pc:spChg chg="add del mod">
            <ac:chgData name="Remi de Vogel" userId="5948360e-7b9c-4a22-9ada-df5e8b901c82" providerId="ADAL" clId="{848B40CD-DCFD-4256-872E-30365CE333A5}" dt="2022-05-25T13:46:07.893" v="563"/>
            <ac:spMkLst>
              <pc:docMk/>
              <pc:sldMasterMk cId="259861064" sldId="2147483648"/>
              <pc:sldLayoutMk cId="1684104910" sldId="2147483757"/>
              <ac:spMk id="10" creationId="{1CAAC861-3524-1F84-A40A-E8EA696ACD11}"/>
            </ac:spMkLst>
          </pc:spChg>
          <pc:spChg chg="add del mod">
            <ac:chgData name="Remi de Vogel" userId="5948360e-7b9c-4a22-9ada-df5e8b901c82" providerId="ADAL" clId="{848B40CD-DCFD-4256-872E-30365CE333A5}" dt="2022-05-25T13:46:36.077" v="580" actId="478"/>
            <ac:spMkLst>
              <pc:docMk/>
              <pc:sldMasterMk cId="259861064" sldId="2147483648"/>
              <pc:sldLayoutMk cId="1684104910" sldId="2147483757"/>
              <ac:spMk id="11" creationId="{AC6960E0-24FA-4329-D8D0-FC934BF9FA5A}"/>
            </ac:spMkLst>
          </pc:spChg>
          <pc:spChg chg="add del mod">
            <ac:chgData name="Remi de Vogel" userId="5948360e-7b9c-4a22-9ada-df5e8b901c82" providerId="ADAL" clId="{848B40CD-DCFD-4256-872E-30365CE333A5}" dt="2022-05-25T13:46:37.779" v="581" actId="478"/>
            <ac:spMkLst>
              <pc:docMk/>
              <pc:sldMasterMk cId="259861064" sldId="2147483648"/>
              <pc:sldLayoutMk cId="1684104910" sldId="2147483757"/>
              <ac:spMk id="13" creationId="{3D72C151-61E2-B994-225C-4272D310842B}"/>
            </ac:spMkLst>
          </pc:spChg>
          <pc:spChg chg="add del mod">
            <ac:chgData name="Remi de Vogel" userId="5948360e-7b9c-4a22-9ada-df5e8b901c82" providerId="ADAL" clId="{848B40CD-DCFD-4256-872E-30365CE333A5}" dt="2022-05-25T13:50:56.494" v="607" actId="478"/>
            <ac:spMkLst>
              <pc:docMk/>
              <pc:sldMasterMk cId="259861064" sldId="2147483648"/>
              <pc:sldLayoutMk cId="1684104910" sldId="2147483757"/>
              <ac:spMk id="14" creationId="{4F5BF6FE-5780-CCE7-B109-5A9359D60D20}"/>
            </ac:spMkLst>
          </pc:spChg>
          <pc:spChg chg="add del mod">
            <ac:chgData name="Remi de Vogel" userId="5948360e-7b9c-4a22-9ada-df5e8b901c82" providerId="ADAL" clId="{848B40CD-DCFD-4256-872E-30365CE333A5}" dt="2022-05-25T13:46:40.927" v="582" actId="207"/>
            <ac:spMkLst>
              <pc:docMk/>
              <pc:sldMasterMk cId="259861064" sldId="2147483648"/>
              <pc:sldLayoutMk cId="1684104910" sldId="2147483757"/>
              <ac:spMk id="15" creationId="{6FF0F323-E955-4EBB-A84A-C044EEAF1B3D}"/>
            </ac:spMkLst>
          </pc:spChg>
          <pc:spChg chg="add del mod">
            <ac:chgData name="Remi de Vogel" userId="5948360e-7b9c-4a22-9ada-df5e8b901c82" providerId="ADAL" clId="{848B40CD-DCFD-4256-872E-30365CE333A5}" dt="2022-05-25T13:46:40.927" v="582" actId="207"/>
            <ac:spMkLst>
              <pc:docMk/>
              <pc:sldMasterMk cId="259861064" sldId="2147483648"/>
              <pc:sldLayoutMk cId="1684104910" sldId="2147483757"/>
              <ac:spMk id="16" creationId="{6DB3F3D9-90D1-47A0-AEB4-F175E30555E6}"/>
            </ac:spMkLst>
          </pc:spChg>
          <pc:spChg chg="add del mod">
            <ac:chgData name="Remi de Vogel" userId="5948360e-7b9c-4a22-9ada-df5e8b901c82" providerId="ADAL" clId="{848B40CD-DCFD-4256-872E-30365CE333A5}" dt="2022-05-25T13:50:56.494" v="607" actId="478"/>
            <ac:spMkLst>
              <pc:docMk/>
              <pc:sldMasterMk cId="259861064" sldId="2147483648"/>
              <pc:sldLayoutMk cId="1684104910" sldId="2147483757"/>
              <ac:spMk id="17" creationId="{6DFDB5AE-0536-5584-A8D7-D13369945C92}"/>
            </ac:spMkLst>
          </pc:spChg>
          <pc:spChg chg="add del mod">
            <ac:chgData name="Remi de Vogel" userId="5948360e-7b9c-4a22-9ada-df5e8b901c82" providerId="ADAL" clId="{848B40CD-DCFD-4256-872E-30365CE333A5}" dt="2022-05-25T13:50:56.494" v="607" actId="478"/>
            <ac:spMkLst>
              <pc:docMk/>
              <pc:sldMasterMk cId="259861064" sldId="2147483648"/>
              <pc:sldLayoutMk cId="1684104910" sldId="2147483757"/>
              <ac:spMk id="18" creationId="{D414D913-5E23-5D4C-3F21-9E24582BA52D}"/>
            </ac:spMkLst>
          </pc:spChg>
          <pc:spChg chg="add mod">
            <ac:chgData name="Remi de Vogel" userId="5948360e-7b9c-4a22-9ada-df5e8b901c82" providerId="ADAL" clId="{848B40CD-DCFD-4256-872E-30365CE333A5}" dt="2022-05-25T13:50:54.451" v="606" actId="207"/>
            <ac:spMkLst>
              <pc:docMk/>
              <pc:sldMasterMk cId="259861064" sldId="2147483648"/>
              <pc:sldLayoutMk cId="1684104910" sldId="2147483757"/>
              <ac:spMk id="19" creationId="{9FB69452-F087-9C1B-E079-9486C03B2F4F}"/>
            </ac:spMkLst>
          </pc:spChg>
        </pc:sldLayoutChg>
        <pc:sldLayoutChg chg="addSp delSp modSp add del mod modTransition">
          <pc:chgData name="Remi de Vogel" userId="5948360e-7b9c-4a22-9ada-df5e8b901c82" providerId="ADAL" clId="{848B40CD-DCFD-4256-872E-30365CE333A5}" dt="2022-05-25T13:44:46.375" v="517" actId="2890"/>
          <pc:sldLayoutMkLst>
            <pc:docMk/>
            <pc:sldMasterMk cId="259861064" sldId="2147483648"/>
            <pc:sldLayoutMk cId="2611434780" sldId="2147483757"/>
          </pc:sldLayoutMkLst>
          <pc:spChg chg="add del mod ord">
            <ac:chgData name="Remi de Vogel" userId="5948360e-7b9c-4a22-9ada-df5e8b901c82" providerId="ADAL" clId="{848B40CD-DCFD-4256-872E-30365CE333A5}" dt="2022-05-25T13:44:43.793" v="514"/>
            <ac:spMkLst>
              <pc:docMk/>
              <pc:sldMasterMk cId="259861064" sldId="2147483648"/>
              <pc:sldLayoutMk cId="2611434780" sldId="2147483757"/>
              <ac:spMk id="8" creationId="{37A09110-9CA9-86F6-7DAA-2C50793FC932}"/>
            </ac:spMkLst>
          </pc:spChg>
        </pc:sldLayoutChg>
        <pc:sldLayoutChg chg="addSp modSp add mod modTransition">
          <pc:chgData name="Remi de Vogel" userId="5948360e-7b9c-4a22-9ada-df5e8b901c82" providerId="ADAL" clId="{848B40CD-DCFD-4256-872E-30365CE333A5}" dt="2022-05-25T15:04:14.760" v="749" actId="6014"/>
          <pc:sldLayoutMkLst>
            <pc:docMk/>
            <pc:sldMasterMk cId="259861064" sldId="2147483648"/>
            <pc:sldLayoutMk cId="3823118230" sldId="2147483758"/>
          </pc:sldLayoutMkLst>
          <pc:spChg chg="mod">
            <ac:chgData name="Remi de Vogel" userId="5948360e-7b9c-4a22-9ada-df5e8b901c82" providerId="ADAL" clId="{848B40CD-DCFD-4256-872E-30365CE333A5}" dt="2022-05-25T15:03:45.079" v="744" actId="1076"/>
            <ac:spMkLst>
              <pc:docMk/>
              <pc:sldMasterMk cId="259861064" sldId="2147483648"/>
              <pc:sldLayoutMk cId="3823118230" sldId="2147483758"/>
              <ac:spMk id="3" creationId="{00000000-0000-0000-0000-000000000000}"/>
            </ac:spMkLst>
          </pc:spChg>
          <pc:spChg chg="mod">
            <ac:chgData name="Remi de Vogel" userId="5948360e-7b9c-4a22-9ada-df5e8b901c82" providerId="ADAL" clId="{848B40CD-DCFD-4256-872E-30365CE333A5}" dt="2022-05-25T15:03:45.079" v="744" actId="1076"/>
            <ac:spMkLst>
              <pc:docMk/>
              <pc:sldMasterMk cId="259861064" sldId="2147483648"/>
              <pc:sldLayoutMk cId="3823118230" sldId="2147483758"/>
              <ac:spMk id="4" creationId="{00000000-0000-0000-0000-000000000000}"/>
            </ac:spMkLst>
          </pc:spChg>
          <pc:spChg chg="mod">
            <ac:chgData name="Remi de Vogel" userId="5948360e-7b9c-4a22-9ada-df5e8b901c82" providerId="ADAL" clId="{848B40CD-DCFD-4256-872E-30365CE333A5}" dt="2022-05-25T15:03:39.630" v="741" actId="207"/>
            <ac:spMkLst>
              <pc:docMk/>
              <pc:sldMasterMk cId="259861064" sldId="2147483648"/>
              <pc:sldLayoutMk cId="3823118230" sldId="2147483758"/>
              <ac:spMk id="5" creationId="{00000000-0000-0000-0000-000000000000}"/>
            </ac:spMkLst>
          </pc:spChg>
          <pc:spChg chg="add mod ord">
            <ac:chgData name="Remi de Vogel" userId="5948360e-7b9c-4a22-9ada-df5e8b901c82" providerId="ADAL" clId="{848B40CD-DCFD-4256-872E-30365CE333A5}" dt="2022-05-25T15:03:41.470" v="743" actId="1076"/>
            <ac:spMkLst>
              <pc:docMk/>
              <pc:sldMasterMk cId="259861064" sldId="2147483648"/>
              <pc:sldLayoutMk cId="3823118230" sldId="2147483758"/>
              <ac:spMk id="9" creationId="{9820254A-3E4B-3A58-CC3E-0DE1CEB611EF}"/>
            </ac:spMkLst>
          </pc:spChg>
          <pc:spChg chg="add mod">
            <ac:chgData name="Remi de Vogel" userId="5948360e-7b9c-4a22-9ada-df5e8b901c82" providerId="ADAL" clId="{848B40CD-DCFD-4256-872E-30365CE333A5}" dt="2022-05-25T15:03:54.136" v="745"/>
            <ac:spMkLst>
              <pc:docMk/>
              <pc:sldMasterMk cId="259861064" sldId="2147483648"/>
              <pc:sldLayoutMk cId="3823118230" sldId="2147483758"/>
              <ac:spMk id="10" creationId="{E5CA42CB-B3B6-8313-D178-955EBD856F7F}"/>
            </ac:spMkLst>
          </pc:spChg>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476672" y="251520"/>
            <a:ext cx="2971800" cy="216000"/>
          </a:xfrm>
          <a:prstGeom prst="rect">
            <a:avLst/>
          </a:prstGeom>
        </p:spPr>
        <p:txBody>
          <a:bodyPr vert="horz" lIns="0" tIns="0" rIns="0" bIns="0" rtlCol="0" anchor="ctr"/>
          <a:lstStyle>
            <a:lvl1pPr algn="l">
              <a:defRPr sz="1200"/>
            </a:lvl1pPr>
          </a:lstStyle>
          <a:p>
            <a:endParaRPr lang="de-DE" dirty="0">
              <a:latin typeface="AA Zuehlke" panose="02000503060000020004" pitchFamily="2" charset="0"/>
            </a:endParaRPr>
          </a:p>
        </p:txBody>
      </p:sp>
      <p:sp>
        <p:nvSpPr>
          <p:cNvPr id="3" name="Datumsplatzhalter 2"/>
          <p:cNvSpPr>
            <a:spLocks noGrp="1"/>
          </p:cNvSpPr>
          <p:nvPr>
            <p:ph type="dt" sz="quarter" idx="1"/>
          </p:nvPr>
        </p:nvSpPr>
        <p:spPr>
          <a:xfrm>
            <a:off x="5157192" y="8676456"/>
            <a:ext cx="720000" cy="216000"/>
          </a:xfrm>
          <a:prstGeom prst="rect">
            <a:avLst/>
          </a:prstGeom>
        </p:spPr>
        <p:txBody>
          <a:bodyPr vert="horz" lIns="0" tIns="0" rIns="0" bIns="0" rtlCol="0" anchor="ctr"/>
          <a:lstStyle>
            <a:lvl1pPr algn="r">
              <a:defRPr sz="1200"/>
            </a:lvl1pPr>
          </a:lstStyle>
          <a:p>
            <a:fld id="{5320D358-F853-4E66-A71E-3A9A01236113}" type="datetimeFigureOut">
              <a:rPr lang="de-DE" sz="800" smtClean="0">
                <a:latin typeface="AA Zuehlke" panose="02000503060000020004" pitchFamily="2" charset="0"/>
              </a:rPr>
              <a:t>29.06.2022</a:t>
            </a:fld>
            <a:endParaRPr lang="de-DE" sz="800" dirty="0">
              <a:latin typeface="AA Zuehlke" panose="02000503060000020004" pitchFamily="2" charset="0"/>
            </a:endParaRPr>
          </a:p>
        </p:txBody>
      </p:sp>
      <p:sp>
        <p:nvSpPr>
          <p:cNvPr id="4" name="Fußzeilenplatzhalter 3"/>
          <p:cNvSpPr>
            <a:spLocks noGrp="1"/>
          </p:cNvSpPr>
          <p:nvPr>
            <p:ph type="ftr" sz="quarter" idx="2"/>
          </p:nvPr>
        </p:nvSpPr>
        <p:spPr>
          <a:xfrm>
            <a:off x="477192" y="8676456"/>
            <a:ext cx="4680000" cy="216000"/>
          </a:xfrm>
          <a:prstGeom prst="rect">
            <a:avLst/>
          </a:prstGeom>
        </p:spPr>
        <p:txBody>
          <a:bodyPr vert="horz" lIns="0" tIns="0" rIns="0" bIns="0" rtlCol="0" anchor="ctr"/>
          <a:lstStyle>
            <a:lvl1pPr algn="l">
              <a:defRPr sz="1200"/>
            </a:lvl1pPr>
          </a:lstStyle>
          <a:p>
            <a:endParaRPr lang="de-DE" sz="800" dirty="0">
              <a:latin typeface="AA Zuehlke" panose="02000503060000020004" pitchFamily="2" charset="0"/>
            </a:endParaRPr>
          </a:p>
        </p:txBody>
      </p:sp>
      <p:sp>
        <p:nvSpPr>
          <p:cNvPr id="5" name="Foliennummernplatzhalter 4"/>
          <p:cNvSpPr>
            <a:spLocks noGrp="1"/>
          </p:cNvSpPr>
          <p:nvPr>
            <p:ph type="sldNum" sz="quarter" idx="3"/>
          </p:nvPr>
        </p:nvSpPr>
        <p:spPr>
          <a:xfrm>
            <a:off x="6021328" y="8685213"/>
            <a:ext cx="360000" cy="216000"/>
          </a:xfrm>
          <a:prstGeom prst="rect">
            <a:avLst/>
          </a:prstGeom>
        </p:spPr>
        <p:txBody>
          <a:bodyPr vert="horz" lIns="0" tIns="0" rIns="0" bIns="0" rtlCol="0" anchor="ctr"/>
          <a:lstStyle>
            <a:lvl1pPr algn="r">
              <a:defRPr sz="1200"/>
            </a:lvl1pPr>
          </a:lstStyle>
          <a:p>
            <a:fld id="{E5BBCCF6-F8A8-4C49-BF3D-CA1AA74CA975}" type="slidenum">
              <a:rPr lang="de-DE" sz="800" smtClean="0">
                <a:latin typeface="AA Zuehlke" panose="02000503060000020004" pitchFamily="2" charset="0"/>
              </a:rPr>
              <a:t>‹#›</a:t>
            </a:fld>
            <a:endParaRPr lang="de-DE" sz="800" dirty="0">
              <a:latin typeface="AA Zuehlke" panose="02000503060000020004" pitchFamily="2" charset="0"/>
            </a:endParaRPr>
          </a:p>
        </p:txBody>
      </p:sp>
    </p:spTree>
    <p:extLst>
      <p:ext uri="{BB962C8B-B14F-4D97-AF65-F5344CB8AC3E}">
        <p14:creationId xmlns:p14="http://schemas.microsoft.com/office/powerpoint/2010/main" val="3143861194"/>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pos="302" userDrawn="1">
          <p15:clr>
            <a:srgbClr val="F26B43"/>
          </p15:clr>
        </p15:guide>
        <p15:guide id="2" pos="4021"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platzhalter 3"/>
          <p:cNvSpPr>
            <a:spLocks noGrp="1" noRot="1" noChangeAspect="1"/>
          </p:cNvSpPr>
          <p:nvPr>
            <p:ph type="sldImg" idx="2"/>
          </p:nvPr>
        </p:nvSpPr>
        <p:spPr>
          <a:xfrm>
            <a:off x="476672" y="611560"/>
            <a:ext cx="5904000" cy="3321000"/>
          </a:xfrm>
          <a:prstGeom prst="rect">
            <a:avLst/>
          </a:prstGeom>
          <a:noFill/>
          <a:ln w="6350">
            <a:solidFill>
              <a:schemeClr val="accent4"/>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476672" y="4139952"/>
            <a:ext cx="5904000" cy="4320000"/>
          </a:xfrm>
          <a:prstGeom prst="rect">
            <a:avLst/>
          </a:prstGeom>
        </p:spPr>
        <p:txBody>
          <a:bodyPr vert="horz" lIns="0" tIns="0" rIns="0" bIns="0" rtlCol="0"/>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8" name="Kopfzeilenplatzhalter 1"/>
          <p:cNvSpPr>
            <a:spLocks noGrp="1"/>
          </p:cNvSpPr>
          <p:nvPr>
            <p:ph type="hdr" sz="quarter"/>
          </p:nvPr>
        </p:nvSpPr>
        <p:spPr>
          <a:xfrm>
            <a:off x="476672" y="251520"/>
            <a:ext cx="2971800" cy="216000"/>
          </a:xfrm>
          <a:prstGeom prst="rect">
            <a:avLst/>
          </a:prstGeom>
        </p:spPr>
        <p:txBody>
          <a:bodyPr vert="horz" lIns="0" tIns="0" rIns="0" bIns="0" rtlCol="0" anchor="ctr"/>
          <a:lstStyle>
            <a:lvl1pPr algn="l">
              <a:defRPr sz="1200">
                <a:latin typeface="AA Zuehlke" panose="02000503060000020004" pitchFamily="2" charset="0"/>
              </a:defRPr>
            </a:lvl1pPr>
          </a:lstStyle>
          <a:p>
            <a:endParaRPr lang="de-DE" sz="1000" dirty="0"/>
          </a:p>
        </p:txBody>
      </p:sp>
      <p:sp>
        <p:nvSpPr>
          <p:cNvPr id="9" name="Datumsplatzhalter 2"/>
          <p:cNvSpPr>
            <a:spLocks noGrp="1"/>
          </p:cNvSpPr>
          <p:nvPr>
            <p:ph type="dt" sz="quarter" idx="1"/>
          </p:nvPr>
        </p:nvSpPr>
        <p:spPr>
          <a:xfrm>
            <a:off x="5157192" y="8676456"/>
            <a:ext cx="720000" cy="216000"/>
          </a:xfrm>
          <a:prstGeom prst="rect">
            <a:avLst/>
          </a:prstGeom>
        </p:spPr>
        <p:txBody>
          <a:bodyPr vert="horz" lIns="0" tIns="0" rIns="0" bIns="0" rtlCol="0" anchor="ctr"/>
          <a:lstStyle>
            <a:lvl1pPr algn="r">
              <a:defRPr sz="800">
                <a:latin typeface="AA Zuehlke" panose="02000503060000020004" pitchFamily="2" charset="0"/>
              </a:defRPr>
            </a:lvl1pPr>
          </a:lstStyle>
          <a:p>
            <a:fld id="{5320D358-F853-4E66-A71E-3A9A01236113}" type="datetimeFigureOut">
              <a:rPr lang="de-DE" smtClean="0"/>
              <a:pPr/>
              <a:t>29.06.2022</a:t>
            </a:fld>
            <a:endParaRPr lang="de-DE" dirty="0"/>
          </a:p>
        </p:txBody>
      </p:sp>
      <p:sp>
        <p:nvSpPr>
          <p:cNvPr id="10" name="Fußzeilenplatzhalter 3"/>
          <p:cNvSpPr>
            <a:spLocks noGrp="1"/>
          </p:cNvSpPr>
          <p:nvPr>
            <p:ph type="ftr" sz="quarter" idx="4"/>
          </p:nvPr>
        </p:nvSpPr>
        <p:spPr>
          <a:xfrm>
            <a:off x="477192" y="8676456"/>
            <a:ext cx="4680000" cy="216000"/>
          </a:xfrm>
          <a:prstGeom prst="rect">
            <a:avLst/>
          </a:prstGeom>
        </p:spPr>
        <p:txBody>
          <a:bodyPr vert="horz" lIns="0" tIns="0" rIns="0" bIns="0" rtlCol="0" anchor="ctr"/>
          <a:lstStyle>
            <a:lvl1pPr algn="l">
              <a:defRPr sz="800">
                <a:latin typeface="AA Zuehlke" panose="02000503060000020004" pitchFamily="2" charset="0"/>
              </a:defRPr>
            </a:lvl1pPr>
          </a:lstStyle>
          <a:p>
            <a:endParaRPr lang="de-DE" dirty="0"/>
          </a:p>
        </p:txBody>
      </p:sp>
      <p:sp>
        <p:nvSpPr>
          <p:cNvPr id="11" name="Foliennummernplatzhalter 4"/>
          <p:cNvSpPr>
            <a:spLocks noGrp="1"/>
          </p:cNvSpPr>
          <p:nvPr>
            <p:ph type="sldNum" sz="quarter" idx="5"/>
          </p:nvPr>
        </p:nvSpPr>
        <p:spPr>
          <a:xfrm>
            <a:off x="6021328" y="8685213"/>
            <a:ext cx="360000" cy="216000"/>
          </a:xfrm>
          <a:prstGeom prst="rect">
            <a:avLst/>
          </a:prstGeom>
        </p:spPr>
        <p:txBody>
          <a:bodyPr vert="horz" lIns="0" tIns="0" rIns="0" bIns="0" rtlCol="0" anchor="ctr"/>
          <a:lstStyle>
            <a:lvl1pPr algn="r">
              <a:defRPr sz="800">
                <a:latin typeface="AA Zuehlke" panose="02000503060000020004" pitchFamily="2" charset="0"/>
              </a:defRPr>
            </a:lvl1pPr>
          </a:lstStyle>
          <a:p>
            <a:fld id="{E5BBCCF6-F8A8-4C49-BF3D-CA1AA74CA975}" type="slidenum">
              <a:rPr lang="de-DE" smtClean="0"/>
              <a:pPr/>
              <a:t>‹#›</a:t>
            </a:fld>
            <a:endParaRPr lang="de-DE" dirty="0"/>
          </a:p>
        </p:txBody>
      </p:sp>
    </p:spTree>
    <p:extLst>
      <p:ext uri="{BB962C8B-B14F-4D97-AF65-F5344CB8AC3E}">
        <p14:creationId xmlns:p14="http://schemas.microsoft.com/office/powerpoint/2010/main" val="2846198732"/>
      </p:ext>
    </p:extLst>
  </p:cSld>
  <p:clrMap bg1="lt1" tx1="dk1" bg2="lt2" tx2="dk2" accent1="accent1" accent2="accent2" accent3="accent3" accent4="accent4" accent5="accent5" accent6="accent6" hlink="hlink" folHlink="folHlink"/>
  <p:notesStyle>
    <a:lvl1pPr marL="0" algn="l" defTabSz="914400" rtl="0" eaLnBrk="1" latinLnBrk="0" hangingPunct="1">
      <a:lnSpc>
        <a:spcPct val="120000"/>
      </a:lnSpc>
      <a:spcBef>
        <a:spcPts val="1200"/>
      </a:spcBef>
      <a:spcAft>
        <a:spcPts val="200"/>
      </a:spcAft>
      <a:defRPr sz="1200" b="1" kern="1200">
        <a:solidFill>
          <a:schemeClr val="tx1"/>
        </a:solidFill>
        <a:latin typeface="AA Zuehlke" panose="02000503060000020004" pitchFamily="2" charset="0"/>
        <a:ea typeface="+mn-ea"/>
        <a:cs typeface="+mn-cs"/>
      </a:defRPr>
    </a:lvl1pPr>
    <a:lvl2pPr marL="0" algn="l" defTabSz="914400" rtl="0" eaLnBrk="1" latinLnBrk="0" hangingPunct="1">
      <a:lnSpc>
        <a:spcPct val="120000"/>
      </a:lnSpc>
      <a:spcBef>
        <a:spcPts val="100"/>
      </a:spcBef>
      <a:spcAft>
        <a:spcPts val="200"/>
      </a:spcAft>
      <a:defRPr sz="1200" kern="1200">
        <a:solidFill>
          <a:schemeClr val="tx1"/>
        </a:solidFill>
        <a:latin typeface="AA Zuehlke" panose="02000503060000020004" pitchFamily="2" charset="0"/>
        <a:ea typeface="+mn-ea"/>
        <a:cs typeface="+mn-cs"/>
      </a:defRPr>
    </a:lvl2pPr>
    <a:lvl3pPr marL="144000" indent="-144000" algn="l" defTabSz="914400" rtl="0" eaLnBrk="1" latinLnBrk="0" hangingPunct="1">
      <a:lnSpc>
        <a:spcPct val="120000"/>
      </a:lnSpc>
      <a:spcBef>
        <a:spcPts val="100"/>
      </a:spcBef>
      <a:spcAft>
        <a:spcPts val="200"/>
      </a:spcAft>
      <a:buFont typeface="Wingdings 2" panose="05020102010507070707" pitchFamily="18" charset="2"/>
      <a:buChar char="¡"/>
      <a:defRPr sz="1200" kern="1200">
        <a:solidFill>
          <a:schemeClr val="tx1"/>
        </a:solidFill>
        <a:latin typeface="AA Zuehlke" panose="02000503060000020004" pitchFamily="2" charset="0"/>
        <a:ea typeface="+mn-ea"/>
        <a:cs typeface="+mn-cs"/>
      </a:defRPr>
    </a:lvl3pPr>
    <a:lvl4pPr marL="288000" indent="-144000" algn="l" defTabSz="914400" rtl="0" eaLnBrk="1" latinLnBrk="0" hangingPunct="1">
      <a:lnSpc>
        <a:spcPct val="120000"/>
      </a:lnSpc>
      <a:spcBef>
        <a:spcPts val="100"/>
      </a:spcBef>
      <a:spcAft>
        <a:spcPts val="200"/>
      </a:spcAft>
      <a:buFont typeface="Symbol" panose="05050102010706020507" pitchFamily="18" charset="2"/>
      <a:buChar char="-"/>
      <a:defRPr sz="1200" kern="1200">
        <a:solidFill>
          <a:schemeClr val="tx1"/>
        </a:solidFill>
        <a:latin typeface="AA Zuehlke" panose="02000503060000020004" pitchFamily="2" charset="0"/>
        <a:ea typeface="+mn-ea"/>
        <a:cs typeface="+mn-cs"/>
      </a:defRPr>
    </a:lvl4pPr>
    <a:lvl5pPr marL="432000" indent="-144000" algn="l" defTabSz="914400" rtl="0" eaLnBrk="1" latinLnBrk="0" hangingPunct="1">
      <a:lnSpc>
        <a:spcPct val="120000"/>
      </a:lnSpc>
      <a:spcBef>
        <a:spcPts val="100"/>
      </a:spcBef>
      <a:spcAft>
        <a:spcPts val="200"/>
      </a:spcAft>
      <a:buFont typeface="Symbol" panose="05050102010706020507" pitchFamily="18" charset="2"/>
      <a:buChar char="-"/>
      <a:defRPr sz="1200" kern="1200">
        <a:solidFill>
          <a:schemeClr val="tx1"/>
        </a:solidFill>
        <a:latin typeface="AA Zuehlke" panose="02000503060000020004" pitchFamily="2" charset="0"/>
        <a:ea typeface="+mn-ea"/>
        <a:cs typeface="+mn-cs"/>
      </a:defRPr>
    </a:lvl5pPr>
    <a:lvl6pPr marL="576000" indent="-144000" algn="l" defTabSz="914400" rtl="0" eaLnBrk="1" latinLnBrk="0" hangingPunct="1">
      <a:lnSpc>
        <a:spcPct val="120000"/>
      </a:lnSpc>
      <a:spcBef>
        <a:spcPts val="100"/>
      </a:spcBef>
      <a:spcAft>
        <a:spcPts val="200"/>
      </a:spcAft>
      <a:buFont typeface="Symbol" panose="05050102010706020507" pitchFamily="18" charset="2"/>
      <a:buChar char="-"/>
      <a:defRPr sz="1200" kern="1200">
        <a:solidFill>
          <a:schemeClr val="tx1"/>
        </a:solidFill>
        <a:latin typeface="AA Zuehlke" panose="02000503060000020004" pitchFamily="2" charset="0"/>
        <a:ea typeface="+mn-ea"/>
        <a:cs typeface="+mn-cs"/>
      </a:defRPr>
    </a:lvl6pPr>
    <a:lvl7pPr marL="576000" indent="-144000" algn="l" defTabSz="914400" rtl="0" eaLnBrk="1" latinLnBrk="0" hangingPunct="1">
      <a:lnSpc>
        <a:spcPct val="120000"/>
      </a:lnSpc>
      <a:spcBef>
        <a:spcPts val="100"/>
      </a:spcBef>
      <a:spcAft>
        <a:spcPts val="200"/>
      </a:spcAft>
      <a:buFont typeface="Symbol" panose="05050102010706020507" pitchFamily="18" charset="2"/>
      <a:buChar char="-"/>
      <a:defRPr sz="1200" kern="1200">
        <a:solidFill>
          <a:schemeClr val="tx1"/>
        </a:solidFill>
        <a:latin typeface="AA Zuehlke" panose="02000503060000020004" pitchFamily="2" charset="0"/>
        <a:ea typeface="+mn-ea"/>
        <a:cs typeface="+mn-cs"/>
      </a:defRPr>
    </a:lvl7pPr>
    <a:lvl8pPr marL="576000" indent="-144000" algn="l" defTabSz="914400" rtl="0" eaLnBrk="1" latinLnBrk="0" hangingPunct="1">
      <a:lnSpc>
        <a:spcPct val="120000"/>
      </a:lnSpc>
      <a:spcBef>
        <a:spcPts val="100"/>
      </a:spcBef>
      <a:spcAft>
        <a:spcPts val="200"/>
      </a:spcAft>
      <a:buFont typeface="Symbol" panose="05050102010706020507" pitchFamily="18" charset="2"/>
      <a:buChar char="-"/>
      <a:defRPr sz="1200" kern="1200">
        <a:solidFill>
          <a:schemeClr val="tx1"/>
        </a:solidFill>
        <a:latin typeface="AA Zuehlke" panose="02000503060000020004" pitchFamily="2" charset="0"/>
        <a:ea typeface="+mn-ea"/>
        <a:cs typeface="+mn-cs"/>
      </a:defRPr>
    </a:lvl8pPr>
    <a:lvl9pPr marL="576000" indent="-144000" algn="l" defTabSz="914400" rtl="0" eaLnBrk="1" latinLnBrk="0" hangingPunct="1">
      <a:lnSpc>
        <a:spcPct val="120000"/>
      </a:lnSpc>
      <a:spcBef>
        <a:spcPts val="100"/>
      </a:spcBef>
      <a:spcAft>
        <a:spcPts val="200"/>
      </a:spcAft>
      <a:buFont typeface="Symbol" panose="05050102010706020507" pitchFamily="18" charset="2"/>
      <a:buChar char="-"/>
      <a:defRPr sz="1200" kern="1200">
        <a:solidFill>
          <a:schemeClr val="tx1"/>
        </a:solidFill>
        <a:latin typeface="AA Zuehlke" panose="02000503060000020004" pitchFamily="2" charset="0"/>
        <a:ea typeface="+mn-ea"/>
        <a:cs typeface="+mn-cs"/>
      </a:defRPr>
    </a:lvl9pPr>
  </p:notesStyle>
  <p:extLst>
    <p:ext uri="{620B2872-D7B9-4A21-9093-7833F8D536E1}">
      <p15:sldGuideLst xmlns:p15="http://schemas.microsoft.com/office/powerpoint/2012/main">
        <p15:guide id="1" pos="302" userDrawn="1">
          <p15:clr>
            <a:srgbClr val="F26B43"/>
          </p15:clr>
        </p15:guide>
        <p15:guide id="2" pos="4021"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611188"/>
            <a:ext cx="5903913" cy="3321050"/>
          </a:xfrm>
        </p:spPr>
      </p:sp>
      <p:sp>
        <p:nvSpPr>
          <p:cNvPr id="3" name="Notizenplatzhalter 2"/>
          <p:cNvSpPr>
            <a:spLocks noGrp="1"/>
          </p:cNvSpPr>
          <p:nvPr>
            <p:ph type="body" idx="1"/>
          </p:nvPr>
        </p:nvSpPr>
        <p:spPr/>
        <p:txBody>
          <a:bodyPr/>
          <a:lstStyle/>
          <a:p>
            <a:endParaRPr lang="de-DE" dirty="0"/>
          </a:p>
        </p:txBody>
      </p:sp>
      <p:sp>
        <p:nvSpPr>
          <p:cNvPr id="4" name="Footer Placeholder 3">
            <a:extLst>
              <a:ext uri="{FF2B5EF4-FFF2-40B4-BE49-F238E27FC236}">
                <a16:creationId xmlns:a16="http://schemas.microsoft.com/office/drawing/2014/main" id="{E9043060-191B-4C44-9819-55626F1873A1}"/>
              </a:ext>
            </a:extLst>
          </p:cNvPr>
          <p:cNvSpPr>
            <a:spLocks noGrp="1"/>
          </p:cNvSpPr>
          <p:nvPr>
            <p:ph type="ftr" sz="quarter" idx="4"/>
          </p:nvPr>
        </p:nvSpPr>
        <p:spPr/>
        <p:txBody>
          <a:bodyPr/>
          <a:lstStyle/>
          <a:p>
            <a:r>
              <a:rPr lang="de-DE" dirty="0"/>
              <a:t>© K16 GmbH</a:t>
            </a:r>
          </a:p>
        </p:txBody>
      </p:sp>
    </p:spTree>
    <p:extLst>
      <p:ext uri="{BB962C8B-B14F-4D97-AF65-F5344CB8AC3E}">
        <p14:creationId xmlns:p14="http://schemas.microsoft.com/office/powerpoint/2010/main" val="206524172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ig title and text left">
    <p:spTree>
      <p:nvGrpSpPr>
        <p:cNvPr id="1" name=""/>
        <p:cNvGrpSpPr/>
        <p:nvPr/>
      </p:nvGrpSpPr>
      <p:grpSpPr>
        <a:xfrm>
          <a:off x="0" y="0"/>
          <a:ext cx="0" cy="0"/>
          <a:chOff x="0" y="0"/>
          <a:chExt cx="0" cy="0"/>
        </a:xfrm>
      </p:grpSpPr>
      <p:sp>
        <p:nvSpPr>
          <p:cNvPr id="12" name="Textplatzhalter 7"/>
          <p:cNvSpPr>
            <a:spLocks noGrp="1"/>
          </p:cNvSpPr>
          <p:nvPr>
            <p:ph type="body" sz="quarter" idx="16" hasCustomPrompt="1"/>
          </p:nvPr>
        </p:nvSpPr>
        <p:spPr bwMode="gray">
          <a:xfrm>
            <a:off x="619304" y="332656"/>
            <a:ext cx="5332064" cy="144016"/>
          </a:xfrm>
          <a:prstGeom prst="rect">
            <a:avLst/>
          </a:prstGeom>
        </p:spPr>
        <p:txBody>
          <a:bodyPr anchor="b"/>
          <a:lstStyle>
            <a:lvl1pPr marL="0" indent="0">
              <a:lnSpc>
                <a:spcPct val="100000"/>
              </a:lnSpc>
              <a:spcBef>
                <a:spcPts val="0"/>
              </a:spcBef>
              <a:spcAft>
                <a:spcPts val="0"/>
              </a:spcAft>
              <a:buFont typeface="Arial" panose="020B0604020202020204" pitchFamily="34" charset="0"/>
              <a:buNone/>
              <a:defRPr sz="1000" b="0">
                <a:latin typeface="+mn-lt"/>
              </a:defRPr>
            </a:lvl1pPr>
            <a:lvl2pPr marL="0" indent="0">
              <a:lnSpc>
                <a:spcPct val="100000"/>
              </a:lnSpc>
              <a:spcBef>
                <a:spcPts val="0"/>
              </a:spcBef>
              <a:spcAft>
                <a:spcPts val="0"/>
              </a:spcAft>
              <a:buFont typeface="Arial" panose="020B0604020202020204" pitchFamily="34" charset="0"/>
              <a:buNone/>
              <a:defRPr sz="1000" b="0">
                <a:latin typeface="+mn-lt"/>
              </a:defRPr>
            </a:lvl2pPr>
            <a:lvl3pPr marL="0" indent="0">
              <a:lnSpc>
                <a:spcPct val="100000"/>
              </a:lnSpc>
              <a:spcBef>
                <a:spcPts val="0"/>
              </a:spcBef>
              <a:spcAft>
                <a:spcPts val="0"/>
              </a:spcAft>
              <a:buNone/>
              <a:defRPr sz="1000" b="0">
                <a:latin typeface="+mn-lt"/>
              </a:defRPr>
            </a:lvl3pPr>
            <a:lvl4pPr marL="0" indent="0">
              <a:lnSpc>
                <a:spcPct val="100000"/>
              </a:lnSpc>
              <a:spcBef>
                <a:spcPts val="0"/>
              </a:spcBef>
              <a:spcAft>
                <a:spcPts val="0"/>
              </a:spcAft>
              <a:buNone/>
              <a:defRPr sz="1000" b="0">
                <a:latin typeface="+mn-lt"/>
              </a:defRPr>
            </a:lvl4pPr>
            <a:lvl5pPr marL="0" indent="0">
              <a:lnSpc>
                <a:spcPct val="100000"/>
              </a:lnSpc>
              <a:spcBef>
                <a:spcPts val="0"/>
              </a:spcBef>
              <a:spcAft>
                <a:spcPts val="0"/>
              </a:spcAft>
              <a:buNone/>
              <a:defRPr sz="1000" b="0">
                <a:latin typeface="+mn-lt"/>
              </a:defRPr>
            </a:lvl5pPr>
            <a:lvl6pPr marL="0" indent="0">
              <a:lnSpc>
                <a:spcPct val="100000"/>
              </a:lnSpc>
              <a:spcBef>
                <a:spcPts val="0"/>
              </a:spcBef>
              <a:spcAft>
                <a:spcPts val="0"/>
              </a:spcAft>
              <a:buNone/>
              <a:defRPr sz="1000" b="0">
                <a:latin typeface="+mn-lt"/>
              </a:defRPr>
            </a:lvl6pPr>
            <a:lvl7pPr marL="0" indent="0">
              <a:lnSpc>
                <a:spcPct val="100000"/>
              </a:lnSpc>
              <a:spcBef>
                <a:spcPts val="0"/>
              </a:spcBef>
              <a:spcAft>
                <a:spcPts val="0"/>
              </a:spcAft>
              <a:buNone/>
              <a:defRPr sz="1000" b="0">
                <a:latin typeface="+mn-lt"/>
              </a:defRPr>
            </a:lvl7pPr>
            <a:lvl8pPr marL="0" indent="0">
              <a:lnSpc>
                <a:spcPct val="100000"/>
              </a:lnSpc>
              <a:spcBef>
                <a:spcPts val="0"/>
              </a:spcBef>
              <a:spcAft>
                <a:spcPts val="0"/>
              </a:spcAft>
              <a:buNone/>
              <a:defRPr sz="1000" b="0">
                <a:latin typeface="+mn-lt"/>
              </a:defRPr>
            </a:lvl8pPr>
            <a:lvl9pPr marL="0" indent="0">
              <a:lnSpc>
                <a:spcPct val="100000"/>
              </a:lnSpc>
              <a:spcBef>
                <a:spcPts val="0"/>
              </a:spcBef>
              <a:spcAft>
                <a:spcPts val="0"/>
              </a:spcAft>
              <a:buNone/>
              <a:defRPr sz="1000" b="0">
                <a:latin typeface="+mn-lt"/>
              </a:defRPr>
            </a:lvl9pPr>
          </a:lstStyle>
          <a:p>
            <a:pPr lvl="0"/>
            <a:r>
              <a:rPr lang="en-US" dirty="0"/>
              <a:t>Chapter navigation</a:t>
            </a:r>
          </a:p>
        </p:txBody>
      </p:sp>
      <p:sp>
        <p:nvSpPr>
          <p:cNvPr id="15" name="Titel 1">
            <a:extLst>
              <a:ext uri="{FF2B5EF4-FFF2-40B4-BE49-F238E27FC236}">
                <a16:creationId xmlns:a16="http://schemas.microsoft.com/office/drawing/2014/main" id="{6FF0F323-E955-4EBB-A84A-C044EEAF1B3D}"/>
              </a:ext>
            </a:extLst>
          </p:cNvPr>
          <p:cNvSpPr>
            <a:spLocks noGrp="1"/>
          </p:cNvSpPr>
          <p:nvPr>
            <p:ph type="ctrTitle" hasCustomPrompt="1"/>
          </p:nvPr>
        </p:nvSpPr>
        <p:spPr bwMode="gray">
          <a:xfrm>
            <a:off x="614824" y="1196752"/>
            <a:ext cx="4392068" cy="1871663"/>
          </a:xfrm>
        </p:spPr>
        <p:txBody>
          <a:bodyPr anchor="b"/>
          <a:lstStyle>
            <a:lvl1pPr algn="l">
              <a:lnSpc>
                <a:spcPct val="105000"/>
              </a:lnSpc>
              <a:defRPr sz="3600" b="0" i="0">
                <a:solidFill>
                  <a:schemeClr val="tx1"/>
                </a:solidFill>
                <a:latin typeface="+mj-lt"/>
              </a:defRPr>
            </a:lvl1pPr>
          </a:lstStyle>
          <a:p>
            <a:r>
              <a:rPr lang="en-US" dirty="0"/>
              <a:t>Big slide title</a:t>
            </a:r>
          </a:p>
        </p:txBody>
      </p:sp>
      <p:sp>
        <p:nvSpPr>
          <p:cNvPr id="16" name="Untertitel 2">
            <a:extLst>
              <a:ext uri="{FF2B5EF4-FFF2-40B4-BE49-F238E27FC236}">
                <a16:creationId xmlns:a16="http://schemas.microsoft.com/office/drawing/2014/main" id="{6DB3F3D9-90D1-47A0-AEB4-F175E30555E6}"/>
              </a:ext>
            </a:extLst>
          </p:cNvPr>
          <p:cNvSpPr>
            <a:spLocks noGrp="1"/>
          </p:cNvSpPr>
          <p:nvPr>
            <p:ph type="subTitle" idx="17" hasCustomPrompt="1"/>
          </p:nvPr>
        </p:nvSpPr>
        <p:spPr bwMode="gray">
          <a:xfrm>
            <a:off x="614824" y="3355752"/>
            <a:ext cx="4392068" cy="2810098"/>
          </a:xfrm>
          <a:prstGeom prst="rect">
            <a:avLst/>
          </a:prstGeom>
        </p:spPr>
        <p:txBody>
          <a:bodyPr/>
          <a:lstStyle>
            <a:lvl1pPr marL="0" indent="0" algn="l">
              <a:lnSpc>
                <a:spcPct val="120000"/>
              </a:lnSpc>
              <a:spcBef>
                <a:spcPts val="0"/>
              </a:spcBef>
              <a:spcAft>
                <a:spcPts val="0"/>
              </a:spcAft>
              <a:buFont typeface="Arial" panose="020B0604020202020204" pitchFamily="34" charset="0"/>
              <a:buNone/>
              <a:defRPr sz="2000" b="0">
                <a:solidFill>
                  <a:schemeClr val="tx1"/>
                </a:solidFill>
                <a:latin typeface="+mn-lt"/>
              </a:defRPr>
            </a:lvl1pPr>
            <a:lvl2pPr marL="0" indent="0" algn="l">
              <a:lnSpc>
                <a:spcPct val="120000"/>
              </a:lnSpc>
              <a:spcBef>
                <a:spcPts val="0"/>
              </a:spcBef>
              <a:spcAft>
                <a:spcPts val="0"/>
              </a:spcAft>
              <a:buFont typeface="Arial" panose="020B0604020202020204" pitchFamily="34" charset="0"/>
              <a:buNone/>
              <a:defRPr sz="2000" b="0">
                <a:solidFill>
                  <a:schemeClr val="tx1"/>
                </a:solidFill>
              </a:defRPr>
            </a:lvl2pPr>
            <a:lvl3pPr marL="0" indent="0" algn="l">
              <a:lnSpc>
                <a:spcPct val="120000"/>
              </a:lnSpc>
              <a:spcBef>
                <a:spcPts val="0"/>
              </a:spcBef>
              <a:spcAft>
                <a:spcPts val="0"/>
              </a:spcAft>
              <a:buFont typeface="Arial" panose="020B0604020202020204" pitchFamily="34" charset="0"/>
              <a:buNone/>
              <a:defRPr sz="2000" b="0">
                <a:solidFill>
                  <a:schemeClr val="tx1"/>
                </a:solidFill>
              </a:defRPr>
            </a:lvl3pPr>
            <a:lvl4pPr marL="0" indent="0" algn="l">
              <a:lnSpc>
                <a:spcPct val="120000"/>
              </a:lnSpc>
              <a:spcBef>
                <a:spcPts val="0"/>
              </a:spcBef>
              <a:spcAft>
                <a:spcPts val="0"/>
              </a:spcAft>
              <a:buFont typeface="Arial" panose="020B0604020202020204" pitchFamily="34" charset="0"/>
              <a:buNone/>
              <a:defRPr sz="2000" b="0">
                <a:solidFill>
                  <a:schemeClr val="tx1"/>
                </a:solidFill>
              </a:defRPr>
            </a:lvl4pPr>
            <a:lvl5pPr marL="0" indent="0" algn="l">
              <a:lnSpc>
                <a:spcPct val="120000"/>
              </a:lnSpc>
              <a:spcBef>
                <a:spcPts val="0"/>
              </a:spcBef>
              <a:spcAft>
                <a:spcPts val="0"/>
              </a:spcAft>
              <a:buFont typeface="Arial" panose="020B0604020202020204" pitchFamily="34" charset="0"/>
              <a:buNone/>
              <a:defRPr sz="2000" b="0">
                <a:solidFill>
                  <a:schemeClr val="tx1"/>
                </a:solidFill>
              </a:defRPr>
            </a:lvl5pPr>
            <a:lvl6pPr marL="0" indent="0" algn="l">
              <a:lnSpc>
                <a:spcPct val="120000"/>
              </a:lnSpc>
              <a:spcBef>
                <a:spcPts val="0"/>
              </a:spcBef>
              <a:spcAft>
                <a:spcPts val="0"/>
              </a:spcAft>
              <a:buFont typeface="Arial" panose="020B0604020202020204" pitchFamily="34" charset="0"/>
              <a:buNone/>
              <a:defRPr sz="2000" b="0">
                <a:solidFill>
                  <a:schemeClr val="tx1"/>
                </a:solidFill>
              </a:defRPr>
            </a:lvl6pPr>
            <a:lvl7pPr marL="0" indent="0" algn="l">
              <a:lnSpc>
                <a:spcPct val="120000"/>
              </a:lnSpc>
              <a:spcBef>
                <a:spcPts val="0"/>
              </a:spcBef>
              <a:spcAft>
                <a:spcPts val="0"/>
              </a:spcAft>
              <a:buFont typeface="Arial" panose="020B0604020202020204" pitchFamily="34" charset="0"/>
              <a:buNone/>
              <a:defRPr sz="2000" b="0">
                <a:solidFill>
                  <a:schemeClr val="tx1"/>
                </a:solidFill>
              </a:defRPr>
            </a:lvl7pPr>
            <a:lvl8pPr marL="0" indent="0" algn="l">
              <a:lnSpc>
                <a:spcPct val="120000"/>
              </a:lnSpc>
              <a:spcBef>
                <a:spcPts val="0"/>
              </a:spcBef>
              <a:spcAft>
                <a:spcPts val="0"/>
              </a:spcAft>
              <a:buFont typeface="Arial" panose="020B0604020202020204" pitchFamily="34" charset="0"/>
              <a:buNone/>
              <a:defRPr sz="2000" b="0">
                <a:solidFill>
                  <a:schemeClr val="tx1"/>
                </a:solidFill>
              </a:defRPr>
            </a:lvl8pPr>
            <a:lvl9pPr marL="0" indent="0" algn="l">
              <a:lnSpc>
                <a:spcPct val="120000"/>
              </a:lnSpc>
              <a:spcBef>
                <a:spcPts val="0"/>
              </a:spcBef>
              <a:spcAft>
                <a:spcPts val="0"/>
              </a:spcAft>
              <a:buFont typeface="Arial" panose="020B0604020202020204" pitchFamily="34" charset="0"/>
              <a:buNone/>
              <a:defRPr sz="2000" b="0">
                <a:solidFill>
                  <a:schemeClr val="tx1"/>
                </a:solidFill>
              </a:defRPr>
            </a:lvl9pPr>
          </a:lstStyle>
          <a:p>
            <a:r>
              <a:rPr lang="en-US" dirty="0"/>
              <a:t>Subtitle or description text</a:t>
            </a:r>
          </a:p>
        </p:txBody>
      </p:sp>
      <p:sp>
        <p:nvSpPr>
          <p:cNvPr id="5" name="Datumsplatzhalter 4"/>
          <p:cNvSpPr>
            <a:spLocks noGrp="1"/>
          </p:cNvSpPr>
          <p:nvPr>
            <p:ph type="dt" sz="half" idx="10"/>
          </p:nvPr>
        </p:nvSpPr>
        <p:spPr bwMode="gray"/>
        <p:txBody>
          <a:bodyPr/>
          <a:lstStyle/>
          <a:p>
            <a:endParaRPr lang="en-US" dirty="0"/>
          </a:p>
        </p:txBody>
      </p:sp>
      <p:sp>
        <p:nvSpPr>
          <p:cNvPr id="6" name="Fußzeilenplatzhalter 5"/>
          <p:cNvSpPr>
            <a:spLocks noGrp="1"/>
          </p:cNvSpPr>
          <p:nvPr>
            <p:ph type="ftr" sz="quarter" idx="11"/>
          </p:nvPr>
        </p:nvSpPr>
        <p:spPr bwMode="gray"/>
        <p:txBody>
          <a:bodyPr/>
          <a:lstStyle/>
          <a:p>
            <a:endParaRPr lang="en-US" dirty="0"/>
          </a:p>
        </p:txBody>
      </p:sp>
      <p:sp>
        <p:nvSpPr>
          <p:cNvPr id="7" name="Foliennummernplatzhalter 6"/>
          <p:cNvSpPr>
            <a:spLocks noGrp="1"/>
          </p:cNvSpPr>
          <p:nvPr>
            <p:ph type="sldNum" sz="quarter" idx="12"/>
          </p:nvPr>
        </p:nvSpPr>
        <p:spPr bwMode="gray"/>
        <p:txBody>
          <a:bodyPr/>
          <a:lstStyle/>
          <a:p>
            <a:r>
              <a:rPr lang="en-US" dirty="0"/>
              <a:t>|  </a:t>
            </a:r>
            <a:fld id="{8FF9B0DE-3FEB-4AA0-B465-B80EF7C1333D}" type="slidenum">
              <a:rPr lang="en-US" smtClean="0"/>
              <a:pPr/>
              <a:t>‹#›</a:t>
            </a:fld>
            <a:endParaRPr lang="en-US" dirty="0"/>
          </a:p>
        </p:txBody>
      </p:sp>
    </p:spTree>
    <p:extLst>
      <p:ext uri="{BB962C8B-B14F-4D97-AF65-F5344CB8AC3E}">
        <p14:creationId xmlns:p14="http://schemas.microsoft.com/office/powerpoint/2010/main" val="2227878697"/>
      </p:ext>
    </p:extLst>
  </p:cSld>
  <p:clrMapOvr>
    <a:masterClrMapping/>
  </p:clrMapOvr>
  <p:extLst>
    <p:ext uri="{DCECCB84-F9BA-43D5-87BE-67443E8EF086}">
      <p15:sldGuideLst xmlns:p15="http://schemas.microsoft.com/office/powerpoint/2012/main">
        <p15:guide id="3" pos="7287" userDrawn="1">
          <p15:clr>
            <a:srgbClr val="C35EA4"/>
          </p15:clr>
        </p15:guide>
        <p15:guide id="4" pos="393" userDrawn="1">
          <p15:clr>
            <a:srgbClr val="C35EA4"/>
          </p15:clr>
        </p15:guide>
        <p15:guide id="5" orient="horz" pos="346" userDrawn="1">
          <p15:clr>
            <a:srgbClr val="C35EA4"/>
          </p15:clr>
        </p15:guide>
        <p15:guide id="6" orient="horz" pos="3884" userDrawn="1">
          <p15:clr>
            <a:srgbClr val="C35EA4"/>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ig title and text right">
    <p:spTree>
      <p:nvGrpSpPr>
        <p:cNvPr id="1" name=""/>
        <p:cNvGrpSpPr/>
        <p:nvPr/>
      </p:nvGrpSpPr>
      <p:grpSpPr>
        <a:xfrm>
          <a:off x="0" y="0"/>
          <a:ext cx="0" cy="0"/>
          <a:chOff x="0" y="0"/>
          <a:chExt cx="0" cy="0"/>
        </a:xfrm>
      </p:grpSpPr>
      <p:sp>
        <p:nvSpPr>
          <p:cNvPr id="12" name="Textplatzhalter 7"/>
          <p:cNvSpPr>
            <a:spLocks noGrp="1"/>
          </p:cNvSpPr>
          <p:nvPr>
            <p:ph type="body" sz="quarter" idx="16" hasCustomPrompt="1"/>
          </p:nvPr>
        </p:nvSpPr>
        <p:spPr bwMode="gray">
          <a:xfrm>
            <a:off x="619304" y="332656"/>
            <a:ext cx="5332064" cy="144016"/>
          </a:xfrm>
          <a:prstGeom prst="rect">
            <a:avLst/>
          </a:prstGeom>
        </p:spPr>
        <p:txBody>
          <a:bodyPr anchor="b"/>
          <a:lstStyle>
            <a:lvl1pPr marL="0" indent="0">
              <a:lnSpc>
                <a:spcPct val="100000"/>
              </a:lnSpc>
              <a:spcBef>
                <a:spcPts val="0"/>
              </a:spcBef>
              <a:spcAft>
                <a:spcPts val="0"/>
              </a:spcAft>
              <a:buFont typeface="Arial" panose="020B0604020202020204" pitchFamily="34" charset="0"/>
              <a:buNone/>
              <a:defRPr sz="1000" b="0">
                <a:latin typeface="+mn-lt"/>
              </a:defRPr>
            </a:lvl1pPr>
            <a:lvl2pPr marL="0" indent="0">
              <a:lnSpc>
                <a:spcPct val="100000"/>
              </a:lnSpc>
              <a:spcBef>
                <a:spcPts val="0"/>
              </a:spcBef>
              <a:spcAft>
                <a:spcPts val="0"/>
              </a:spcAft>
              <a:buFont typeface="Arial" panose="020B0604020202020204" pitchFamily="34" charset="0"/>
              <a:buNone/>
              <a:defRPr sz="1000" b="0">
                <a:latin typeface="+mn-lt"/>
              </a:defRPr>
            </a:lvl2pPr>
            <a:lvl3pPr marL="0" indent="0">
              <a:lnSpc>
                <a:spcPct val="100000"/>
              </a:lnSpc>
              <a:spcBef>
                <a:spcPts val="0"/>
              </a:spcBef>
              <a:spcAft>
                <a:spcPts val="0"/>
              </a:spcAft>
              <a:buNone/>
              <a:defRPr sz="1000" b="0">
                <a:latin typeface="+mn-lt"/>
              </a:defRPr>
            </a:lvl3pPr>
            <a:lvl4pPr marL="0" indent="0">
              <a:lnSpc>
                <a:spcPct val="100000"/>
              </a:lnSpc>
              <a:spcBef>
                <a:spcPts val="0"/>
              </a:spcBef>
              <a:spcAft>
                <a:spcPts val="0"/>
              </a:spcAft>
              <a:buNone/>
              <a:defRPr sz="1000" b="0">
                <a:latin typeface="+mn-lt"/>
              </a:defRPr>
            </a:lvl4pPr>
            <a:lvl5pPr marL="0" indent="0">
              <a:lnSpc>
                <a:spcPct val="100000"/>
              </a:lnSpc>
              <a:spcBef>
                <a:spcPts val="0"/>
              </a:spcBef>
              <a:spcAft>
                <a:spcPts val="0"/>
              </a:spcAft>
              <a:buNone/>
              <a:defRPr sz="1000" b="0">
                <a:latin typeface="+mn-lt"/>
              </a:defRPr>
            </a:lvl5pPr>
            <a:lvl6pPr marL="0" indent="0">
              <a:lnSpc>
                <a:spcPct val="100000"/>
              </a:lnSpc>
              <a:spcBef>
                <a:spcPts val="0"/>
              </a:spcBef>
              <a:spcAft>
                <a:spcPts val="0"/>
              </a:spcAft>
              <a:buNone/>
              <a:defRPr sz="1000" b="0">
                <a:latin typeface="+mn-lt"/>
              </a:defRPr>
            </a:lvl6pPr>
            <a:lvl7pPr marL="0" indent="0">
              <a:lnSpc>
                <a:spcPct val="100000"/>
              </a:lnSpc>
              <a:spcBef>
                <a:spcPts val="0"/>
              </a:spcBef>
              <a:spcAft>
                <a:spcPts val="0"/>
              </a:spcAft>
              <a:buNone/>
              <a:defRPr sz="1000" b="0">
                <a:latin typeface="+mn-lt"/>
              </a:defRPr>
            </a:lvl7pPr>
            <a:lvl8pPr marL="0" indent="0">
              <a:lnSpc>
                <a:spcPct val="100000"/>
              </a:lnSpc>
              <a:spcBef>
                <a:spcPts val="0"/>
              </a:spcBef>
              <a:spcAft>
                <a:spcPts val="0"/>
              </a:spcAft>
              <a:buNone/>
              <a:defRPr sz="1000" b="0">
                <a:latin typeface="+mn-lt"/>
              </a:defRPr>
            </a:lvl8pPr>
            <a:lvl9pPr marL="0" indent="0">
              <a:lnSpc>
                <a:spcPct val="100000"/>
              </a:lnSpc>
              <a:spcBef>
                <a:spcPts val="0"/>
              </a:spcBef>
              <a:spcAft>
                <a:spcPts val="0"/>
              </a:spcAft>
              <a:buNone/>
              <a:defRPr sz="1000" b="0">
                <a:latin typeface="+mn-lt"/>
              </a:defRPr>
            </a:lvl9pPr>
          </a:lstStyle>
          <a:p>
            <a:pPr lvl="0"/>
            <a:r>
              <a:rPr lang="en-US" dirty="0"/>
              <a:t>Chapter navigation</a:t>
            </a:r>
          </a:p>
        </p:txBody>
      </p:sp>
      <p:sp>
        <p:nvSpPr>
          <p:cNvPr id="15" name="Titel 1">
            <a:extLst>
              <a:ext uri="{FF2B5EF4-FFF2-40B4-BE49-F238E27FC236}">
                <a16:creationId xmlns:a16="http://schemas.microsoft.com/office/drawing/2014/main" id="{6FF0F323-E955-4EBB-A84A-C044EEAF1B3D}"/>
              </a:ext>
            </a:extLst>
          </p:cNvPr>
          <p:cNvSpPr>
            <a:spLocks noGrp="1"/>
          </p:cNvSpPr>
          <p:nvPr>
            <p:ph type="ctrTitle" hasCustomPrompt="1"/>
          </p:nvPr>
        </p:nvSpPr>
        <p:spPr bwMode="gray">
          <a:xfrm>
            <a:off x="7176540" y="1196752"/>
            <a:ext cx="4392068" cy="1871663"/>
          </a:xfrm>
        </p:spPr>
        <p:txBody>
          <a:bodyPr anchor="b"/>
          <a:lstStyle>
            <a:lvl1pPr algn="l">
              <a:lnSpc>
                <a:spcPct val="105000"/>
              </a:lnSpc>
              <a:defRPr sz="3600" b="0" i="0">
                <a:solidFill>
                  <a:schemeClr val="tx1"/>
                </a:solidFill>
                <a:latin typeface="+mj-lt"/>
              </a:defRPr>
            </a:lvl1pPr>
          </a:lstStyle>
          <a:p>
            <a:r>
              <a:rPr lang="en-US" dirty="0"/>
              <a:t>Big slide title</a:t>
            </a:r>
          </a:p>
        </p:txBody>
      </p:sp>
      <p:sp>
        <p:nvSpPr>
          <p:cNvPr id="16" name="Untertitel 2">
            <a:extLst>
              <a:ext uri="{FF2B5EF4-FFF2-40B4-BE49-F238E27FC236}">
                <a16:creationId xmlns:a16="http://schemas.microsoft.com/office/drawing/2014/main" id="{6DB3F3D9-90D1-47A0-AEB4-F175E30555E6}"/>
              </a:ext>
            </a:extLst>
          </p:cNvPr>
          <p:cNvSpPr>
            <a:spLocks noGrp="1"/>
          </p:cNvSpPr>
          <p:nvPr>
            <p:ph type="subTitle" idx="17" hasCustomPrompt="1"/>
          </p:nvPr>
        </p:nvSpPr>
        <p:spPr bwMode="gray">
          <a:xfrm>
            <a:off x="7176540" y="3355752"/>
            <a:ext cx="4392068" cy="2810098"/>
          </a:xfrm>
          <a:prstGeom prst="rect">
            <a:avLst/>
          </a:prstGeom>
        </p:spPr>
        <p:txBody>
          <a:bodyPr/>
          <a:lstStyle>
            <a:lvl1pPr marL="0" indent="0" algn="l">
              <a:lnSpc>
                <a:spcPct val="120000"/>
              </a:lnSpc>
              <a:spcBef>
                <a:spcPts val="0"/>
              </a:spcBef>
              <a:spcAft>
                <a:spcPts val="0"/>
              </a:spcAft>
              <a:buFont typeface="Arial" panose="020B0604020202020204" pitchFamily="34" charset="0"/>
              <a:buNone/>
              <a:defRPr sz="2000" b="0">
                <a:solidFill>
                  <a:schemeClr val="tx1"/>
                </a:solidFill>
                <a:latin typeface="+mn-lt"/>
              </a:defRPr>
            </a:lvl1pPr>
            <a:lvl2pPr marL="0" indent="0" algn="l">
              <a:lnSpc>
                <a:spcPct val="120000"/>
              </a:lnSpc>
              <a:spcBef>
                <a:spcPts val="0"/>
              </a:spcBef>
              <a:spcAft>
                <a:spcPts val="0"/>
              </a:spcAft>
              <a:buFont typeface="Arial" panose="020B0604020202020204" pitchFamily="34" charset="0"/>
              <a:buNone/>
              <a:defRPr sz="2000" b="0">
                <a:solidFill>
                  <a:schemeClr val="tx1"/>
                </a:solidFill>
              </a:defRPr>
            </a:lvl2pPr>
            <a:lvl3pPr marL="0" indent="0" algn="l">
              <a:lnSpc>
                <a:spcPct val="120000"/>
              </a:lnSpc>
              <a:spcBef>
                <a:spcPts val="0"/>
              </a:spcBef>
              <a:spcAft>
                <a:spcPts val="0"/>
              </a:spcAft>
              <a:buFont typeface="Arial" panose="020B0604020202020204" pitchFamily="34" charset="0"/>
              <a:buNone/>
              <a:defRPr sz="2000" b="0">
                <a:solidFill>
                  <a:schemeClr val="tx1"/>
                </a:solidFill>
              </a:defRPr>
            </a:lvl3pPr>
            <a:lvl4pPr marL="0" indent="0" algn="l">
              <a:lnSpc>
                <a:spcPct val="120000"/>
              </a:lnSpc>
              <a:spcBef>
                <a:spcPts val="0"/>
              </a:spcBef>
              <a:spcAft>
                <a:spcPts val="0"/>
              </a:spcAft>
              <a:buFont typeface="Arial" panose="020B0604020202020204" pitchFamily="34" charset="0"/>
              <a:buNone/>
              <a:defRPr sz="2000" b="0">
                <a:solidFill>
                  <a:schemeClr val="tx1"/>
                </a:solidFill>
              </a:defRPr>
            </a:lvl4pPr>
            <a:lvl5pPr marL="0" indent="0" algn="l">
              <a:lnSpc>
                <a:spcPct val="120000"/>
              </a:lnSpc>
              <a:spcBef>
                <a:spcPts val="0"/>
              </a:spcBef>
              <a:spcAft>
                <a:spcPts val="0"/>
              </a:spcAft>
              <a:buFont typeface="Arial" panose="020B0604020202020204" pitchFamily="34" charset="0"/>
              <a:buNone/>
              <a:defRPr sz="2000" b="0">
                <a:solidFill>
                  <a:schemeClr val="tx1"/>
                </a:solidFill>
              </a:defRPr>
            </a:lvl5pPr>
            <a:lvl6pPr marL="0" indent="0" algn="l">
              <a:lnSpc>
                <a:spcPct val="120000"/>
              </a:lnSpc>
              <a:spcBef>
                <a:spcPts val="0"/>
              </a:spcBef>
              <a:spcAft>
                <a:spcPts val="0"/>
              </a:spcAft>
              <a:buFont typeface="Arial" panose="020B0604020202020204" pitchFamily="34" charset="0"/>
              <a:buNone/>
              <a:defRPr sz="2000" b="0">
                <a:solidFill>
                  <a:schemeClr val="tx1"/>
                </a:solidFill>
              </a:defRPr>
            </a:lvl6pPr>
            <a:lvl7pPr marL="0" indent="0" algn="l">
              <a:lnSpc>
                <a:spcPct val="120000"/>
              </a:lnSpc>
              <a:spcBef>
                <a:spcPts val="0"/>
              </a:spcBef>
              <a:spcAft>
                <a:spcPts val="0"/>
              </a:spcAft>
              <a:buFont typeface="Arial" panose="020B0604020202020204" pitchFamily="34" charset="0"/>
              <a:buNone/>
              <a:defRPr sz="2000" b="0">
                <a:solidFill>
                  <a:schemeClr val="tx1"/>
                </a:solidFill>
              </a:defRPr>
            </a:lvl7pPr>
            <a:lvl8pPr marL="0" indent="0" algn="l">
              <a:lnSpc>
                <a:spcPct val="120000"/>
              </a:lnSpc>
              <a:spcBef>
                <a:spcPts val="0"/>
              </a:spcBef>
              <a:spcAft>
                <a:spcPts val="0"/>
              </a:spcAft>
              <a:buFont typeface="Arial" panose="020B0604020202020204" pitchFamily="34" charset="0"/>
              <a:buNone/>
              <a:defRPr sz="2000" b="0">
                <a:solidFill>
                  <a:schemeClr val="tx1"/>
                </a:solidFill>
              </a:defRPr>
            </a:lvl8pPr>
            <a:lvl9pPr marL="0" indent="0" algn="l">
              <a:lnSpc>
                <a:spcPct val="120000"/>
              </a:lnSpc>
              <a:spcBef>
                <a:spcPts val="0"/>
              </a:spcBef>
              <a:spcAft>
                <a:spcPts val="0"/>
              </a:spcAft>
              <a:buFont typeface="Arial" panose="020B0604020202020204" pitchFamily="34" charset="0"/>
              <a:buNone/>
              <a:defRPr sz="2000" b="0">
                <a:solidFill>
                  <a:schemeClr val="tx1"/>
                </a:solidFill>
              </a:defRPr>
            </a:lvl9pPr>
          </a:lstStyle>
          <a:p>
            <a:r>
              <a:rPr lang="en-US" dirty="0"/>
              <a:t>Subtitle or description text</a:t>
            </a:r>
          </a:p>
        </p:txBody>
      </p:sp>
      <p:sp>
        <p:nvSpPr>
          <p:cNvPr id="5" name="Datumsplatzhalter 4"/>
          <p:cNvSpPr>
            <a:spLocks noGrp="1"/>
          </p:cNvSpPr>
          <p:nvPr>
            <p:ph type="dt" sz="half" idx="10"/>
          </p:nvPr>
        </p:nvSpPr>
        <p:spPr bwMode="gray"/>
        <p:txBody>
          <a:bodyPr/>
          <a:lstStyle/>
          <a:p>
            <a:endParaRPr lang="en-US" dirty="0"/>
          </a:p>
        </p:txBody>
      </p:sp>
      <p:sp>
        <p:nvSpPr>
          <p:cNvPr id="6" name="Fußzeilenplatzhalter 5"/>
          <p:cNvSpPr>
            <a:spLocks noGrp="1"/>
          </p:cNvSpPr>
          <p:nvPr>
            <p:ph type="ftr" sz="quarter" idx="11"/>
          </p:nvPr>
        </p:nvSpPr>
        <p:spPr bwMode="gray"/>
        <p:txBody>
          <a:bodyPr/>
          <a:lstStyle/>
          <a:p>
            <a:endParaRPr lang="en-US" dirty="0"/>
          </a:p>
        </p:txBody>
      </p:sp>
      <p:sp>
        <p:nvSpPr>
          <p:cNvPr id="7" name="Foliennummernplatzhalter 6"/>
          <p:cNvSpPr>
            <a:spLocks noGrp="1"/>
          </p:cNvSpPr>
          <p:nvPr>
            <p:ph type="sldNum" sz="quarter" idx="12"/>
          </p:nvPr>
        </p:nvSpPr>
        <p:spPr bwMode="gray"/>
        <p:txBody>
          <a:bodyPr/>
          <a:lstStyle/>
          <a:p>
            <a:r>
              <a:rPr lang="en-US" dirty="0"/>
              <a:t>|  </a:t>
            </a:r>
            <a:fld id="{8FF9B0DE-3FEB-4AA0-B465-B80EF7C1333D}" type="slidenum">
              <a:rPr lang="en-US" smtClean="0"/>
              <a:pPr/>
              <a:t>‹#›</a:t>
            </a:fld>
            <a:endParaRPr lang="en-US" dirty="0"/>
          </a:p>
        </p:txBody>
      </p:sp>
    </p:spTree>
    <p:extLst>
      <p:ext uri="{BB962C8B-B14F-4D97-AF65-F5344CB8AC3E}">
        <p14:creationId xmlns:p14="http://schemas.microsoft.com/office/powerpoint/2010/main" val="3523900727"/>
      </p:ext>
    </p:extLst>
  </p:cSld>
  <p:clrMapOvr>
    <a:masterClrMapping/>
  </p:clrMapOvr>
  <p:extLst>
    <p:ext uri="{DCECCB84-F9BA-43D5-87BE-67443E8EF086}">
      <p15:sldGuideLst xmlns:p15="http://schemas.microsoft.com/office/powerpoint/2012/main">
        <p15:guide id="3" pos="7287" userDrawn="1">
          <p15:clr>
            <a:srgbClr val="C35EA4"/>
          </p15:clr>
        </p15:guide>
        <p15:guide id="4" pos="393" userDrawn="1">
          <p15:clr>
            <a:srgbClr val="C35EA4"/>
          </p15:clr>
        </p15:guide>
        <p15:guide id="5" orient="horz" pos="346" userDrawn="1">
          <p15:clr>
            <a:srgbClr val="C35EA4"/>
          </p15:clr>
        </p15:guide>
        <p15:guide id="6" orient="horz" pos="3884" userDrawn="1">
          <p15:clr>
            <a:srgbClr val="C35EA4"/>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20" name="Gruppieren 19">
            <a:extLst>
              <a:ext uri="{FF2B5EF4-FFF2-40B4-BE49-F238E27FC236}">
                <a16:creationId xmlns:a16="http://schemas.microsoft.com/office/drawing/2014/main" id="{6898AEEB-EC37-4140-99E8-7E2350EA6E54}"/>
              </a:ext>
              <a:ext uri="{C183D7F6-B498-43B3-948B-1728B52AA6E4}">
                <adec:decorative xmlns:adec="http://schemas.microsoft.com/office/drawing/2017/decorative" val="1"/>
              </a:ext>
            </a:extLst>
          </p:cNvPr>
          <p:cNvGrpSpPr/>
          <p:nvPr userDrawn="1"/>
        </p:nvGrpSpPr>
        <p:grpSpPr bwMode="gray">
          <a:xfrm>
            <a:off x="623392" y="-171392"/>
            <a:ext cx="10945216" cy="72000"/>
            <a:chOff x="623392" y="5697272"/>
            <a:chExt cx="10945216" cy="180000"/>
          </a:xfrm>
        </p:grpSpPr>
        <p:grpSp>
          <p:nvGrpSpPr>
            <p:cNvPr id="21" name="Gruppieren 20">
              <a:extLst>
                <a:ext uri="{FF2B5EF4-FFF2-40B4-BE49-F238E27FC236}">
                  <a16:creationId xmlns:a16="http://schemas.microsoft.com/office/drawing/2014/main" id="{E8FA2B79-22D1-40B2-AB9D-AB010AF7056A}"/>
                </a:ext>
              </a:extLst>
            </p:cNvPr>
            <p:cNvGrpSpPr/>
            <p:nvPr/>
          </p:nvGrpSpPr>
          <p:grpSpPr bwMode="gray">
            <a:xfrm>
              <a:off x="623536" y="5769272"/>
              <a:ext cx="10945072" cy="36000"/>
              <a:chOff x="623536" y="4005064"/>
              <a:chExt cx="10945072" cy="576064"/>
            </a:xfrm>
            <a:solidFill>
              <a:srgbClr val="D9D9D9"/>
            </a:solidFill>
          </p:grpSpPr>
          <p:sp>
            <p:nvSpPr>
              <p:cNvPr id="47" name="Rectangle 52">
                <a:extLst>
                  <a:ext uri="{FF2B5EF4-FFF2-40B4-BE49-F238E27FC236}">
                    <a16:creationId xmlns:a16="http://schemas.microsoft.com/office/drawing/2014/main" id="{9012D874-BB13-462D-B55E-C858BBA461AF}"/>
                  </a:ext>
                </a:extLst>
              </p:cNvPr>
              <p:cNvSpPr/>
              <p:nvPr/>
            </p:nvSpPr>
            <p:spPr bwMode="gray">
              <a:xfrm>
                <a:off x="623536" y="4005064"/>
                <a:ext cx="648000" cy="576064"/>
              </a:xfrm>
              <a:prstGeom prst="rect">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pPr>
                <a:endParaRPr lang="en-US" sz="1600" spc="20" dirty="0">
                  <a:solidFill>
                    <a:schemeClr val="tx1"/>
                  </a:solidFill>
                  <a:latin typeface="AA Zuehlke" panose="02000503060000020004" pitchFamily="2" charset="0"/>
                </a:endParaRPr>
              </a:p>
            </p:txBody>
          </p:sp>
          <p:sp>
            <p:nvSpPr>
              <p:cNvPr id="48" name="Rectangle 53">
                <a:extLst>
                  <a:ext uri="{FF2B5EF4-FFF2-40B4-BE49-F238E27FC236}">
                    <a16:creationId xmlns:a16="http://schemas.microsoft.com/office/drawing/2014/main" id="{E608DABA-E295-4DEA-A06A-792BDB07FC7D}"/>
                  </a:ext>
                </a:extLst>
              </p:cNvPr>
              <p:cNvSpPr/>
              <p:nvPr/>
            </p:nvSpPr>
            <p:spPr bwMode="gray">
              <a:xfrm>
                <a:off x="1559584" y="4005064"/>
                <a:ext cx="648000" cy="576064"/>
              </a:xfrm>
              <a:prstGeom prst="rect">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pPr>
                <a:endParaRPr lang="en-US" sz="1600" spc="20" dirty="0">
                  <a:solidFill>
                    <a:schemeClr val="tx1"/>
                  </a:solidFill>
                  <a:latin typeface="AA Zuehlke" panose="02000503060000020004" pitchFamily="2" charset="0"/>
                </a:endParaRPr>
              </a:p>
            </p:txBody>
          </p:sp>
          <p:sp>
            <p:nvSpPr>
              <p:cNvPr id="49" name="Rectangle 54">
                <a:extLst>
                  <a:ext uri="{FF2B5EF4-FFF2-40B4-BE49-F238E27FC236}">
                    <a16:creationId xmlns:a16="http://schemas.microsoft.com/office/drawing/2014/main" id="{1BD8E44A-CF52-4DC4-A168-93CD88F8C8DB}"/>
                  </a:ext>
                </a:extLst>
              </p:cNvPr>
              <p:cNvSpPr/>
              <p:nvPr/>
            </p:nvSpPr>
            <p:spPr bwMode="gray">
              <a:xfrm>
                <a:off x="2495688" y="4005064"/>
                <a:ext cx="648000" cy="576064"/>
              </a:xfrm>
              <a:prstGeom prst="rect">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pPr>
                <a:endParaRPr lang="en-US" sz="1600" spc="20" dirty="0">
                  <a:solidFill>
                    <a:schemeClr val="tx1"/>
                  </a:solidFill>
                  <a:latin typeface="AA Zuehlke" panose="02000503060000020004" pitchFamily="2" charset="0"/>
                </a:endParaRPr>
              </a:p>
            </p:txBody>
          </p:sp>
          <p:sp>
            <p:nvSpPr>
              <p:cNvPr id="50" name="Rectangle 55">
                <a:extLst>
                  <a:ext uri="{FF2B5EF4-FFF2-40B4-BE49-F238E27FC236}">
                    <a16:creationId xmlns:a16="http://schemas.microsoft.com/office/drawing/2014/main" id="{C80F863D-049E-46D8-A5F9-348A04DE8FAB}"/>
                  </a:ext>
                </a:extLst>
              </p:cNvPr>
              <p:cNvSpPr/>
              <p:nvPr/>
            </p:nvSpPr>
            <p:spPr bwMode="gray">
              <a:xfrm>
                <a:off x="3431792" y="4005064"/>
                <a:ext cx="648000" cy="576064"/>
              </a:xfrm>
              <a:prstGeom prst="rect">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pPr>
                <a:endParaRPr lang="en-US" sz="1600" spc="20" dirty="0">
                  <a:solidFill>
                    <a:schemeClr val="tx1"/>
                  </a:solidFill>
                  <a:latin typeface="AA Zuehlke" panose="02000503060000020004" pitchFamily="2" charset="0"/>
                </a:endParaRPr>
              </a:p>
            </p:txBody>
          </p:sp>
          <p:sp>
            <p:nvSpPr>
              <p:cNvPr id="51" name="Rectangle 56">
                <a:extLst>
                  <a:ext uri="{FF2B5EF4-FFF2-40B4-BE49-F238E27FC236}">
                    <a16:creationId xmlns:a16="http://schemas.microsoft.com/office/drawing/2014/main" id="{BE37DCF6-FEF0-49BC-943B-B032447989BB}"/>
                  </a:ext>
                </a:extLst>
              </p:cNvPr>
              <p:cNvSpPr/>
              <p:nvPr/>
            </p:nvSpPr>
            <p:spPr bwMode="gray">
              <a:xfrm>
                <a:off x="4367896" y="4005064"/>
                <a:ext cx="648000" cy="576064"/>
              </a:xfrm>
              <a:prstGeom prst="rect">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pPr>
                <a:endParaRPr lang="en-US" sz="1600" spc="20" dirty="0">
                  <a:solidFill>
                    <a:schemeClr val="tx1"/>
                  </a:solidFill>
                  <a:latin typeface="AA Zuehlke" panose="02000503060000020004" pitchFamily="2" charset="0"/>
                </a:endParaRPr>
              </a:p>
            </p:txBody>
          </p:sp>
          <p:sp>
            <p:nvSpPr>
              <p:cNvPr id="52" name="Rectangle 57">
                <a:extLst>
                  <a:ext uri="{FF2B5EF4-FFF2-40B4-BE49-F238E27FC236}">
                    <a16:creationId xmlns:a16="http://schemas.microsoft.com/office/drawing/2014/main" id="{6DFB7014-D1B3-45BF-B4ED-8E6200D5AACB}"/>
                  </a:ext>
                </a:extLst>
              </p:cNvPr>
              <p:cNvSpPr/>
              <p:nvPr/>
            </p:nvSpPr>
            <p:spPr bwMode="gray">
              <a:xfrm>
                <a:off x="5304056" y="4005064"/>
                <a:ext cx="648000" cy="576064"/>
              </a:xfrm>
              <a:prstGeom prst="rect">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pPr>
                <a:endParaRPr lang="en-US" sz="1600" spc="20" dirty="0">
                  <a:solidFill>
                    <a:schemeClr val="tx1"/>
                  </a:solidFill>
                  <a:latin typeface="AA Zuehlke" panose="02000503060000020004" pitchFamily="2" charset="0"/>
                </a:endParaRPr>
              </a:p>
            </p:txBody>
          </p:sp>
          <p:sp>
            <p:nvSpPr>
              <p:cNvPr id="53" name="Rectangle 64">
                <a:extLst>
                  <a:ext uri="{FF2B5EF4-FFF2-40B4-BE49-F238E27FC236}">
                    <a16:creationId xmlns:a16="http://schemas.microsoft.com/office/drawing/2014/main" id="{467BF7F7-3B79-41AE-940D-115BB8BF75F4}"/>
                  </a:ext>
                </a:extLst>
              </p:cNvPr>
              <p:cNvSpPr/>
              <p:nvPr/>
            </p:nvSpPr>
            <p:spPr bwMode="gray">
              <a:xfrm>
                <a:off x="6240088" y="4005064"/>
                <a:ext cx="648000" cy="576064"/>
              </a:xfrm>
              <a:prstGeom prst="rect">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pPr>
                <a:endParaRPr lang="en-US" sz="1600" spc="20" dirty="0">
                  <a:solidFill>
                    <a:schemeClr val="tx1"/>
                  </a:solidFill>
                  <a:latin typeface="AA Zuehlke" panose="02000503060000020004" pitchFamily="2" charset="0"/>
                </a:endParaRPr>
              </a:p>
            </p:txBody>
          </p:sp>
          <p:sp>
            <p:nvSpPr>
              <p:cNvPr id="54" name="Rectangle 65">
                <a:extLst>
                  <a:ext uri="{FF2B5EF4-FFF2-40B4-BE49-F238E27FC236}">
                    <a16:creationId xmlns:a16="http://schemas.microsoft.com/office/drawing/2014/main" id="{89523DD4-1812-4D8D-8D6A-1E875B9DDEC7}"/>
                  </a:ext>
                </a:extLst>
              </p:cNvPr>
              <p:cNvSpPr/>
              <p:nvPr/>
            </p:nvSpPr>
            <p:spPr bwMode="gray">
              <a:xfrm>
                <a:off x="7176136" y="4005064"/>
                <a:ext cx="648000" cy="576064"/>
              </a:xfrm>
              <a:prstGeom prst="rect">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pPr>
                <a:endParaRPr lang="en-US" sz="1600" spc="20" dirty="0">
                  <a:solidFill>
                    <a:schemeClr val="tx1"/>
                  </a:solidFill>
                  <a:latin typeface="AA Zuehlke" panose="02000503060000020004" pitchFamily="2" charset="0"/>
                </a:endParaRPr>
              </a:p>
            </p:txBody>
          </p:sp>
          <p:sp>
            <p:nvSpPr>
              <p:cNvPr id="55" name="Rectangle 66">
                <a:extLst>
                  <a:ext uri="{FF2B5EF4-FFF2-40B4-BE49-F238E27FC236}">
                    <a16:creationId xmlns:a16="http://schemas.microsoft.com/office/drawing/2014/main" id="{8B2E08C1-5B0D-4E06-9981-3924CEF52008}"/>
                  </a:ext>
                </a:extLst>
              </p:cNvPr>
              <p:cNvSpPr/>
              <p:nvPr/>
            </p:nvSpPr>
            <p:spPr bwMode="gray">
              <a:xfrm>
                <a:off x="8112240" y="4005064"/>
                <a:ext cx="648000" cy="576064"/>
              </a:xfrm>
              <a:prstGeom prst="rect">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pPr>
                <a:endParaRPr lang="en-US" sz="1600" spc="20" dirty="0">
                  <a:solidFill>
                    <a:schemeClr val="tx1"/>
                  </a:solidFill>
                  <a:latin typeface="AA Zuehlke" panose="02000503060000020004" pitchFamily="2" charset="0"/>
                </a:endParaRPr>
              </a:p>
            </p:txBody>
          </p:sp>
          <p:sp>
            <p:nvSpPr>
              <p:cNvPr id="56" name="Rectangle 67">
                <a:extLst>
                  <a:ext uri="{FF2B5EF4-FFF2-40B4-BE49-F238E27FC236}">
                    <a16:creationId xmlns:a16="http://schemas.microsoft.com/office/drawing/2014/main" id="{35B7CC2D-A81A-499D-BBF4-7C469D2D56C8}"/>
                  </a:ext>
                </a:extLst>
              </p:cNvPr>
              <p:cNvSpPr/>
              <p:nvPr/>
            </p:nvSpPr>
            <p:spPr bwMode="gray">
              <a:xfrm>
                <a:off x="9048344" y="4005064"/>
                <a:ext cx="648000" cy="576064"/>
              </a:xfrm>
              <a:prstGeom prst="rect">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pPr>
                <a:endParaRPr lang="en-US" sz="1600" spc="20" dirty="0">
                  <a:solidFill>
                    <a:schemeClr val="tx1"/>
                  </a:solidFill>
                  <a:latin typeface="AA Zuehlke" panose="02000503060000020004" pitchFamily="2" charset="0"/>
                </a:endParaRPr>
              </a:p>
            </p:txBody>
          </p:sp>
          <p:sp>
            <p:nvSpPr>
              <p:cNvPr id="57" name="Rectangle 68">
                <a:extLst>
                  <a:ext uri="{FF2B5EF4-FFF2-40B4-BE49-F238E27FC236}">
                    <a16:creationId xmlns:a16="http://schemas.microsoft.com/office/drawing/2014/main" id="{0DEBC94D-31EE-4DF6-AB7D-D78A178606BF}"/>
                  </a:ext>
                </a:extLst>
              </p:cNvPr>
              <p:cNvSpPr/>
              <p:nvPr/>
            </p:nvSpPr>
            <p:spPr bwMode="gray">
              <a:xfrm>
                <a:off x="9984448" y="4005064"/>
                <a:ext cx="648000" cy="576064"/>
              </a:xfrm>
              <a:prstGeom prst="rect">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pPr>
                <a:endParaRPr lang="en-US" sz="1600" spc="20" dirty="0">
                  <a:solidFill>
                    <a:schemeClr val="tx1"/>
                  </a:solidFill>
                  <a:latin typeface="AA Zuehlke" panose="02000503060000020004" pitchFamily="2" charset="0"/>
                </a:endParaRPr>
              </a:p>
            </p:txBody>
          </p:sp>
          <p:sp>
            <p:nvSpPr>
              <p:cNvPr id="58" name="Rectangle 69">
                <a:extLst>
                  <a:ext uri="{FF2B5EF4-FFF2-40B4-BE49-F238E27FC236}">
                    <a16:creationId xmlns:a16="http://schemas.microsoft.com/office/drawing/2014/main" id="{A9823F67-022B-49D5-814B-133E923739F7}"/>
                  </a:ext>
                </a:extLst>
              </p:cNvPr>
              <p:cNvSpPr/>
              <p:nvPr/>
            </p:nvSpPr>
            <p:spPr bwMode="gray">
              <a:xfrm>
                <a:off x="10920608" y="4005064"/>
                <a:ext cx="648000" cy="576064"/>
              </a:xfrm>
              <a:prstGeom prst="rect">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pPr>
                <a:endParaRPr lang="en-US" sz="1600" spc="20" dirty="0">
                  <a:solidFill>
                    <a:schemeClr val="tx1"/>
                  </a:solidFill>
                  <a:latin typeface="AA Zuehlke" panose="02000503060000020004" pitchFamily="2" charset="0"/>
                </a:endParaRPr>
              </a:p>
            </p:txBody>
          </p:sp>
        </p:grpSp>
        <p:grpSp>
          <p:nvGrpSpPr>
            <p:cNvPr id="22" name="Gruppieren 21">
              <a:extLst>
                <a:ext uri="{FF2B5EF4-FFF2-40B4-BE49-F238E27FC236}">
                  <a16:creationId xmlns:a16="http://schemas.microsoft.com/office/drawing/2014/main" id="{0CCDA7D9-13C7-4560-8366-55D2313E1CF0}"/>
                </a:ext>
              </a:extLst>
            </p:cNvPr>
            <p:cNvGrpSpPr/>
            <p:nvPr/>
          </p:nvGrpSpPr>
          <p:grpSpPr bwMode="gray">
            <a:xfrm>
              <a:off x="623392" y="5697272"/>
              <a:ext cx="10945216" cy="180000"/>
              <a:chOff x="623392" y="5697272"/>
              <a:chExt cx="10945216" cy="180000"/>
            </a:xfrm>
          </p:grpSpPr>
          <p:cxnSp>
            <p:nvCxnSpPr>
              <p:cNvPr id="23" name="Gerader Verbinder 22">
                <a:extLst>
                  <a:ext uri="{FF2B5EF4-FFF2-40B4-BE49-F238E27FC236}">
                    <a16:creationId xmlns:a16="http://schemas.microsoft.com/office/drawing/2014/main" id="{F407FE5B-D105-4973-87A5-795A3C31AF0E}"/>
                  </a:ext>
                </a:extLst>
              </p:cNvPr>
              <p:cNvCxnSpPr>
                <a:cxnSpLocks/>
              </p:cNvCxnSpPr>
              <p:nvPr/>
            </p:nvCxnSpPr>
            <p:spPr bwMode="gray">
              <a:xfrm>
                <a:off x="1271464" y="5697272"/>
                <a:ext cx="0" cy="18000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4" name="Gerader Verbinder 23">
                <a:extLst>
                  <a:ext uri="{FF2B5EF4-FFF2-40B4-BE49-F238E27FC236}">
                    <a16:creationId xmlns:a16="http://schemas.microsoft.com/office/drawing/2014/main" id="{9764699F-8CFB-4ACC-B42C-BCFF752CC796}"/>
                  </a:ext>
                </a:extLst>
              </p:cNvPr>
              <p:cNvCxnSpPr>
                <a:cxnSpLocks/>
              </p:cNvCxnSpPr>
              <p:nvPr/>
            </p:nvCxnSpPr>
            <p:spPr bwMode="gray">
              <a:xfrm>
                <a:off x="1559496" y="5697272"/>
                <a:ext cx="0" cy="18000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5" name="Gerader Verbinder 24">
                <a:extLst>
                  <a:ext uri="{FF2B5EF4-FFF2-40B4-BE49-F238E27FC236}">
                    <a16:creationId xmlns:a16="http://schemas.microsoft.com/office/drawing/2014/main" id="{D90DE16E-E582-423A-893C-C107CAC25FA2}"/>
                  </a:ext>
                </a:extLst>
              </p:cNvPr>
              <p:cNvCxnSpPr>
                <a:cxnSpLocks/>
              </p:cNvCxnSpPr>
              <p:nvPr/>
            </p:nvCxnSpPr>
            <p:spPr bwMode="gray">
              <a:xfrm>
                <a:off x="2207568" y="5697272"/>
                <a:ext cx="0" cy="18000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Gerader Verbinder 25">
                <a:extLst>
                  <a:ext uri="{FF2B5EF4-FFF2-40B4-BE49-F238E27FC236}">
                    <a16:creationId xmlns:a16="http://schemas.microsoft.com/office/drawing/2014/main" id="{823737CC-6332-4F51-AEA6-A7BB803CC44D}"/>
                  </a:ext>
                </a:extLst>
              </p:cNvPr>
              <p:cNvCxnSpPr>
                <a:cxnSpLocks/>
              </p:cNvCxnSpPr>
              <p:nvPr/>
            </p:nvCxnSpPr>
            <p:spPr bwMode="gray">
              <a:xfrm>
                <a:off x="2495600" y="5697272"/>
                <a:ext cx="0" cy="18000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7" name="Gerader Verbinder 26">
                <a:extLst>
                  <a:ext uri="{FF2B5EF4-FFF2-40B4-BE49-F238E27FC236}">
                    <a16:creationId xmlns:a16="http://schemas.microsoft.com/office/drawing/2014/main" id="{910BE0AD-3160-48DB-A3DF-D5C1CE935814}"/>
                  </a:ext>
                </a:extLst>
              </p:cNvPr>
              <p:cNvCxnSpPr>
                <a:cxnSpLocks/>
              </p:cNvCxnSpPr>
              <p:nvPr/>
            </p:nvCxnSpPr>
            <p:spPr bwMode="gray">
              <a:xfrm>
                <a:off x="3143672" y="5697272"/>
                <a:ext cx="0" cy="18000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8" name="Gerader Verbinder 27">
                <a:extLst>
                  <a:ext uri="{FF2B5EF4-FFF2-40B4-BE49-F238E27FC236}">
                    <a16:creationId xmlns:a16="http://schemas.microsoft.com/office/drawing/2014/main" id="{48895EC1-9E0B-4F5D-AC98-CBD8C21871BE}"/>
                  </a:ext>
                </a:extLst>
              </p:cNvPr>
              <p:cNvCxnSpPr>
                <a:cxnSpLocks/>
              </p:cNvCxnSpPr>
              <p:nvPr/>
            </p:nvCxnSpPr>
            <p:spPr bwMode="gray">
              <a:xfrm>
                <a:off x="3431704" y="5697272"/>
                <a:ext cx="0" cy="18000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9" name="Gerader Verbinder 28">
                <a:extLst>
                  <a:ext uri="{FF2B5EF4-FFF2-40B4-BE49-F238E27FC236}">
                    <a16:creationId xmlns:a16="http://schemas.microsoft.com/office/drawing/2014/main" id="{E6B72ACB-5E7B-44AB-93D6-1FB5FCC9F36B}"/>
                  </a:ext>
                </a:extLst>
              </p:cNvPr>
              <p:cNvCxnSpPr>
                <a:cxnSpLocks/>
              </p:cNvCxnSpPr>
              <p:nvPr/>
            </p:nvCxnSpPr>
            <p:spPr bwMode="gray">
              <a:xfrm>
                <a:off x="4079776" y="5697272"/>
                <a:ext cx="0" cy="18000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0" name="Gerader Verbinder 29">
                <a:extLst>
                  <a:ext uri="{FF2B5EF4-FFF2-40B4-BE49-F238E27FC236}">
                    <a16:creationId xmlns:a16="http://schemas.microsoft.com/office/drawing/2014/main" id="{081A9F56-5D6C-4E12-A8A8-F9A69B1FE067}"/>
                  </a:ext>
                </a:extLst>
              </p:cNvPr>
              <p:cNvCxnSpPr>
                <a:cxnSpLocks/>
              </p:cNvCxnSpPr>
              <p:nvPr/>
            </p:nvCxnSpPr>
            <p:spPr bwMode="gray">
              <a:xfrm>
                <a:off x="4367808" y="5697272"/>
                <a:ext cx="0" cy="18000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71290B6F-12D9-4AED-B88D-BCDD44703211}"/>
                  </a:ext>
                </a:extLst>
              </p:cNvPr>
              <p:cNvCxnSpPr>
                <a:cxnSpLocks/>
              </p:cNvCxnSpPr>
              <p:nvPr/>
            </p:nvCxnSpPr>
            <p:spPr bwMode="gray">
              <a:xfrm>
                <a:off x="5015880" y="5697272"/>
                <a:ext cx="0" cy="18000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2" name="Gerader Verbinder 31">
                <a:extLst>
                  <a:ext uri="{FF2B5EF4-FFF2-40B4-BE49-F238E27FC236}">
                    <a16:creationId xmlns:a16="http://schemas.microsoft.com/office/drawing/2014/main" id="{F51CE3E3-CC73-462D-85FE-B39544A0E333}"/>
                  </a:ext>
                </a:extLst>
              </p:cNvPr>
              <p:cNvCxnSpPr>
                <a:cxnSpLocks/>
              </p:cNvCxnSpPr>
              <p:nvPr/>
            </p:nvCxnSpPr>
            <p:spPr bwMode="gray">
              <a:xfrm>
                <a:off x="5303912" y="5697272"/>
                <a:ext cx="0" cy="18000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3" name="Gerader Verbinder 32">
                <a:extLst>
                  <a:ext uri="{FF2B5EF4-FFF2-40B4-BE49-F238E27FC236}">
                    <a16:creationId xmlns:a16="http://schemas.microsoft.com/office/drawing/2014/main" id="{0A6D10DF-8CBF-42D2-8F3F-083FA31F7B9D}"/>
                  </a:ext>
                </a:extLst>
              </p:cNvPr>
              <p:cNvCxnSpPr>
                <a:cxnSpLocks/>
              </p:cNvCxnSpPr>
              <p:nvPr/>
            </p:nvCxnSpPr>
            <p:spPr bwMode="gray">
              <a:xfrm>
                <a:off x="5951984" y="5697272"/>
                <a:ext cx="0" cy="18000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Gerader Verbinder 33">
                <a:extLst>
                  <a:ext uri="{FF2B5EF4-FFF2-40B4-BE49-F238E27FC236}">
                    <a16:creationId xmlns:a16="http://schemas.microsoft.com/office/drawing/2014/main" id="{9FC7E311-A9EB-4DB5-8D3F-CAD0D8E3C374}"/>
                  </a:ext>
                </a:extLst>
              </p:cNvPr>
              <p:cNvCxnSpPr>
                <a:cxnSpLocks/>
              </p:cNvCxnSpPr>
              <p:nvPr/>
            </p:nvCxnSpPr>
            <p:spPr bwMode="gray">
              <a:xfrm>
                <a:off x="6240016" y="5697272"/>
                <a:ext cx="0" cy="18000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5" name="Gerader Verbinder 34">
                <a:extLst>
                  <a:ext uri="{FF2B5EF4-FFF2-40B4-BE49-F238E27FC236}">
                    <a16:creationId xmlns:a16="http://schemas.microsoft.com/office/drawing/2014/main" id="{E51C5EEE-1CF3-464E-B5B8-A9E24EE8DDB9}"/>
                  </a:ext>
                </a:extLst>
              </p:cNvPr>
              <p:cNvCxnSpPr>
                <a:cxnSpLocks/>
              </p:cNvCxnSpPr>
              <p:nvPr/>
            </p:nvCxnSpPr>
            <p:spPr bwMode="gray">
              <a:xfrm>
                <a:off x="6888088" y="5697272"/>
                <a:ext cx="0" cy="18000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6" name="Gerader Verbinder 35">
                <a:extLst>
                  <a:ext uri="{FF2B5EF4-FFF2-40B4-BE49-F238E27FC236}">
                    <a16:creationId xmlns:a16="http://schemas.microsoft.com/office/drawing/2014/main" id="{E13B9160-DD0D-47EE-BA9E-2496A2E84C38}"/>
                  </a:ext>
                </a:extLst>
              </p:cNvPr>
              <p:cNvCxnSpPr>
                <a:cxnSpLocks/>
              </p:cNvCxnSpPr>
              <p:nvPr/>
            </p:nvCxnSpPr>
            <p:spPr bwMode="gray">
              <a:xfrm>
                <a:off x="7176120" y="5697272"/>
                <a:ext cx="0" cy="18000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7" name="Gerader Verbinder 36">
                <a:extLst>
                  <a:ext uri="{FF2B5EF4-FFF2-40B4-BE49-F238E27FC236}">
                    <a16:creationId xmlns:a16="http://schemas.microsoft.com/office/drawing/2014/main" id="{3FB905D5-6E70-4A2D-8068-F777FEAB3E43}"/>
                  </a:ext>
                </a:extLst>
              </p:cNvPr>
              <p:cNvCxnSpPr>
                <a:cxnSpLocks/>
              </p:cNvCxnSpPr>
              <p:nvPr/>
            </p:nvCxnSpPr>
            <p:spPr bwMode="gray">
              <a:xfrm>
                <a:off x="7824192" y="5697272"/>
                <a:ext cx="0" cy="18000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8" name="Gerader Verbinder 37">
                <a:extLst>
                  <a:ext uri="{FF2B5EF4-FFF2-40B4-BE49-F238E27FC236}">
                    <a16:creationId xmlns:a16="http://schemas.microsoft.com/office/drawing/2014/main" id="{C7E7B001-AFB3-41C5-9C4F-06C30D012890}"/>
                  </a:ext>
                </a:extLst>
              </p:cNvPr>
              <p:cNvCxnSpPr>
                <a:cxnSpLocks/>
              </p:cNvCxnSpPr>
              <p:nvPr/>
            </p:nvCxnSpPr>
            <p:spPr bwMode="gray">
              <a:xfrm>
                <a:off x="8112224" y="5697272"/>
                <a:ext cx="0" cy="18000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Gerader Verbinder 38">
                <a:extLst>
                  <a:ext uri="{FF2B5EF4-FFF2-40B4-BE49-F238E27FC236}">
                    <a16:creationId xmlns:a16="http://schemas.microsoft.com/office/drawing/2014/main" id="{E1408577-E15E-4CCB-AEAD-36EB815E4113}"/>
                  </a:ext>
                </a:extLst>
              </p:cNvPr>
              <p:cNvCxnSpPr>
                <a:cxnSpLocks/>
              </p:cNvCxnSpPr>
              <p:nvPr/>
            </p:nvCxnSpPr>
            <p:spPr bwMode="gray">
              <a:xfrm>
                <a:off x="8760296" y="5697272"/>
                <a:ext cx="0" cy="18000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0" name="Gerader Verbinder 39">
                <a:extLst>
                  <a:ext uri="{FF2B5EF4-FFF2-40B4-BE49-F238E27FC236}">
                    <a16:creationId xmlns:a16="http://schemas.microsoft.com/office/drawing/2014/main" id="{6BFB36E6-33C2-4EF2-B4D9-E21F9F247A5A}"/>
                  </a:ext>
                </a:extLst>
              </p:cNvPr>
              <p:cNvCxnSpPr>
                <a:cxnSpLocks/>
              </p:cNvCxnSpPr>
              <p:nvPr/>
            </p:nvCxnSpPr>
            <p:spPr bwMode="gray">
              <a:xfrm>
                <a:off x="9048328" y="5697272"/>
                <a:ext cx="0" cy="18000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1" name="Gerader Verbinder 40">
                <a:extLst>
                  <a:ext uri="{FF2B5EF4-FFF2-40B4-BE49-F238E27FC236}">
                    <a16:creationId xmlns:a16="http://schemas.microsoft.com/office/drawing/2014/main" id="{BE792A71-387F-4881-AB05-8FBBA7E5E4FC}"/>
                  </a:ext>
                </a:extLst>
              </p:cNvPr>
              <p:cNvCxnSpPr>
                <a:cxnSpLocks/>
              </p:cNvCxnSpPr>
              <p:nvPr/>
            </p:nvCxnSpPr>
            <p:spPr bwMode="gray">
              <a:xfrm>
                <a:off x="9696400" y="5697272"/>
                <a:ext cx="0" cy="18000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2" name="Gerader Verbinder 41">
                <a:extLst>
                  <a:ext uri="{FF2B5EF4-FFF2-40B4-BE49-F238E27FC236}">
                    <a16:creationId xmlns:a16="http://schemas.microsoft.com/office/drawing/2014/main" id="{4ADCBB92-2574-4552-8666-B283549223DF}"/>
                  </a:ext>
                </a:extLst>
              </p:cNvPr>
              <p:cNvCxnSpPr>
                <a:cxnSpLocks/>
              </p:cNvCxnSpPr>
              <p:nvPr/>
            </p:nvCxnSpPr>
            <p:spPr bwMode="gray">
              <a:xfrm>
                <a:off x="9984432" y="5697272"/>
                <a:ext cx="0" cy="18000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3" name="Gerader Verbinder 42">
                <a:extLst>
                  <a:ext uri="{FF2B5EF4-FFF2-40B4-BE49-F238E27FC236}">
                    <a16:creationId xmlns:a16="http://schemas.microsoft.com/office/drawing/2014/main" id="{A05116D5-864A-4F4E-8C6C-F9F4543D6DE8}"/>
                  </a:ext>
                </a:extLst>
              </p:cNvPr>
              <p:cNvCxnSpPr>
                <a:cxnSpLocks/>
              </p:cNvCxnSpPr>
              <p:nvPr/>
            </p:nvCxnSpPr>
            <p:spPr bwMode="gray">
              <a:xfrm>
                <a:off x="10632504" y="5697272"/>
                <a:ext cx="0" cy="18000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4" name="Gerader Verbinder 43">
                <a:extLst>
                  <a:ext uri="{FF2B5EF4-FFF2-40B4-BE49-F238E27FC236}">
                    <a16:creationId xmlns:a16="http://schemas.microsoft.com/office/drawing/2014/main" id="{EB2223B8-47C4-4602-A9E4-2BD1811E57E0}"/>
                  </a:ext>
                </a:extLst>
              </p:cNvPr>
              <p:cNvCxnSpPr>
                <a:cxnSpLocks/>
              </p:cNvCxnSpPr>
              <p:nvPr/>
            </p:nvCxnSpPr>
            <p:spPr bwMode="gray">
              <a:xfrm>
                <a:off x="10920536" y="5697272"/>
                <a:ext cx="0" cy="18000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5" name="Gerader Verbinder 44">
                <a:extLst>
                  <a:ext uri="{FF2B5EF4-FFF2-40B4-BE49-F238E27FC236}">
                    <a16:creationId xmlns:a16="http://schemas.microsoft.com/office/drawing/2014/main" id="{AD05AAE1-D600-48F3-BD3A-1AA114A99D6E}"/>
                  </a:ext>
                </a:extLst>
              </p:cNvPr>
              <p:cNvCxnSpPr>
                <a:cxnSpLocks/>
              </p:cNvCxnSpPr>
              <p:nvPr/>
            </p:nvCxnSpPr>
            <p:spPr bwMode="gray">
              <a:xfrm>
                <a:off x="623392" y="5697272"/>
                <a:ext cx="0" cy="18000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6" name="Gerader Verbinder 45">
                <a:extLst>
                  <a:ext uri="{FF2B5EF4-FFF2-40B4-BE49-F238E27FC236}">
                    <a16:creationId xmlns:a16="http://schemas.microsoft.com/office/drawing/2014/main" id="{104D0A97-8556-478B-B79A-B823E7FCB530}"/>
                  </a:ext>
                </a:extLst>
              </p:cNvPr>
              <p:cNvCxnSpPr>
                <a:cxnSpLocks/>
              </p:cNvCxnSpPr>
              <p:nvPr/>
            </p:nvCxnSpPr>
            <p:spPr bwMode="gray">
              <a:xfrm>
                <a:off x="11568608" y="5697272"/>
                <a:ext cx="0" cy="18000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grpSp>
      </p:grpSp>
      <p:grpSp>
        <p:nvGrpSpPr>
          <p:cNvPr id="61" name="Gruppieren 60">
            <a:extLst>
              <a:ext uri="{FF2B5EF4-FFF2-40B4-BE49-F238E27FC236}">
                <a16:creationId xmlns:a16="http://schemas.microsoft.com/office/drawing/2014/main" id="{AF727B06-58AC-431F-9CAE-AF9BCFE54DFE}"/>
              </a:ext>
              <a:ext uri="{C183D7F6-B498-43B3-948B-1728B52AA6E4}">
                <adec:decorative xmlns:adec="http://schemas.microsoft.com/office/drawing/2017/decorative" val="1"/>
              </a:ext>
            </a:extLst>
          </p:cNvPr>
          <p:cNvGrpSpPr/>
          <p:nvPr userDrawn="1"/>
        </p:nvGrpSpPr>
        <p:grpSpPr bwMode="gray">
          <a:xfrm rot="5400000">
            <a:off x="-2401455" y="3860553"/>
            <a:ext cx="4537545" cy="72026"/>
            <a:chOff x="9200728" y="-19008"/>
            <a:chExt cx="4537545" cy="72026"/>
          </a:xfrm>
        </p:grpSpPr>
        <p:cxnSp>
          <p:nvCxnSpPr>
            <p:cNvPr id="59" name="Gerader Verbinder 58">
              <a:extLst>
                <a:ext uri="{FF2B5EF4-FFF2-40B4-BE49-F238E27FC236}">
                  <a16:creationId xmlns:a16="http://schemas.microsoft.com/office/drawing/2014/main" id="{9FD5CF6C-298B-4377-B0AC-12445BAD8CFC}"/>
                </a:ext>
              </a:extLst>
            </p:cNvPr>
            <p:cNvCxnSpPr>
              <a:cxnSpLocks/>
            </p:cNvCxnSpPr>
            <p:nvPr userDrawn="1"/>
          </p:nvCxnSpPr>
          <p:spPr bwMode="gray">
            <a:xfrm>
              <a:off x="9200728" y="-18982"/>
              <a:ext cx="0" cy="7200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0" name="Gerader Verbinder 59">
              <a:extLst>
                <a:ext uri="{FF2B5EF4-FFF2-40B4-BE49-F238E27FC236}">
                  <a16:creationId xmlns:a16="http://schemas.microsoft.com/office/drawing/2014/main" id="{DD09E1CE-EB10-40C3-8DFA-2853E9733EEB}"/>
                </a:ext>
              </a:extLst>
            </p:cNvPr>
            <p:cNvCxnSpPr>
              <a:cxnSpLocks/>
            </p:cNvCxnSpPr>
            <p:nvPr userDrawn="1"/>
          </p:nvCxnSpPr>
          <p:spPr bwMode="gray">
            <a:xfrm>
              <a:off x="13738273" y="-19008"/>
              <a:ext cx="0" cy="7200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2" name="Titelplatzhalter 1"/>
          <p:cNvSpPr>
            <a:spLocks noGrp="1"/>
          </p:cNvSpPr>
          <p:nvPr>
            <p:ph type="title"/>
          </p:nvPr>
        </p:nvSpPr>
        <p:spPr bwMode="gray">
          <a:xfrm>
            <a:off x="619304" y="548720"/>
            <a:ext cx="9072000" cy="432000"/>
          </a:xfrm>
          <a:prstGeom prst="rect">
            <a:avLst/>
          </a:prstGeom>
        </p:spPr>
        <p:txBody>
          <a:bodyPr vert="horz" lIns="0" tIns="0" rIns="0" bIns="0" rtlCol="0" anchor="t">
            <a:noAutofit/>
          </a:bodyPr>
          <a:lstStyle/>
          <a:p>
            <a:r>
              <a:rPr lang="en-US" dirty="0"/>
              <a:t>Click to add title</a:t>
            </a:r>
          </a:p>
        </p:txBody>
      </p:sp>
      <p:sp>
        <p:nvSpPr>
          <p:cNvPr id="3" name="Textplatzhalter 2"/>
          <p:cNvSpPr>
            <a:spLocks noGrp="1"/>
          </p:cNvSpPr>
          <p:nvPr>
            <p:ph type="body" idx="1"/>
          </p:nvPr>
        </p:nvSpPr>
        <p:spPr bwMode="gray">
          <a:xfrm>
            <a:off x="619304" y="1628800"/>
            <a:ext cx="10948687" cy="4536016"/>
          </a:xfrm>
          <a:prstGeom prst="rect">
            <a:avLst/>
          </a:prstGeom>
        </p:spPr>
        <p:txBody>
          <a:bodyPr vert="horz" lIns="0" tIns="0" rIns="0" bIns="0" rtlCol="0">
            <a:noAutofit/>
          </a:bodyPr>
          <a:lstStyle/>
          <a:p>
            <a:pPr lvl="0"/>
            <a:r>
              <a:rPr lang="en-US" dirty="0"/>
              <a:t>Level 1 (This is body text. Please use the "Increase List Level" or "Decrease List Level" buttons on the “Home" tab to switch between the predefined text formats such as subheading, body text and bullet points.)</a:t>
            </a:r>
          </a:p>
          <a:p>
            <a:pPr lvl="1"/>
            <a:r>
              <a:rPr lang="en-US" dirty="0"/>
              <a:t>Level 2 (this is a subheading)</a:t>
            </a:r>
          </a:p>
          <a:p>
            <a:pPr lvl="2"/>
            <a:r>
              <a:rPr lang="en-US" dirty="0"/>
              <a:t>Level 3 (first bullet point level)</a:t>
            </a:r>
          </a:p>
          <a:p>
            <a:pPr lvl="3"/>
            <a:r>
              <a:rPr lang="en-US" dirty="0"/>
              <a:t>Level 4 (second bullet point level)</a:t>
            </a:r>
          </a:p>
          <a:p>
            <a:pPr lvl="4"/>
            <a:r>
              <a:rPr lang="en-US" dirty="0"/>
              <a:t>Level 5 (third bullet point level)</a:t>
            </a:r>
          </a:p>
          <a:p>
            <a:pPr lvl="5"/>
            <a:r>
              <a:rPr lang="en-US" dirty="0"/>
              <a:t>Level 6</a:t>
            </a:r>
          </a:p>
          <a:p>
            <a:pPr lvl="6"/>
            <a:r>
              <a:rPr lang="en-US" dirty="0"/>
              <a:t>Level 7</a:t>
            </a:r>
          </a:p>
          <a:p>
            <a:pPr lvl="7"/>
            <a:r>
              <a:rPr lang="en-US" dirty="0"/>
              <a:t>Level 8</a:t>
            </a:r>
          </a:p>
          <a:p>
            <a:pPr lvl="8"/>
            <a:r>
              <a:rPr lang="en-US" dirty="0"/>
              <a:t>Level 9</a:t>
            </a:r>
          </a:p>
        </p:txBody>
      </p:sp>
      <p:sp>
        <p:nvSpPr>
          <p:cNvPr id="4" name="Datumsplatzhalter 3"/>
          <p:cNvSpPr>
            <a:spLocks noGrp="1"/>
          </p:cNvSpPr>
          <p:nvPr>
            <p:ph type="dt" sz="half" idx="2"/>
          </p:nvPr>
        </p:nvSpPr>
        <p:spPr bwMode="gray">
          <a:xfrm>
            <a:off x="10424488" y="7317432"/>
            <a:ext cx="671784" cy="144000"/>
          </a:xfrm>
          <a:prstGeom prst="rect">
            <a:avLst/>
          </a:prstGeom>
        </p:spPr>
        <p:txBody>
          <a:bodyPr vert="horz" lIns="0" tIns="0" rIns="0" bIns="0" rtlCol="0" anchor="t">
            <a:noAutofit/>
          </a:bodyPr>
          <a:lstStyle>
            <a:lvl1pPr algn="r">
              <a:defRPr sz="800" spc="20" baseline="0">
                <a:solidFill>
                  <a:schemeClr val="tx1"/>
                </a:solidFill>
              </a:defRPr>
            </a:lvl1pPr>
          </a:lstStyle>
          <a:p>
            <a:endParaRPr lang="en-US" dirty="0"/>
          </a:p>
        </p:txBody>
      </p:sp>
      <p:sp>
        <p:nvSpPr>
          <p:cNvPr id="5" name="Fußzeilenplatzhalter 4"/>
          <p:cNvSpPr>
            <a:spLocks noGrp="1"/>
          </p:cNvSpPr>
          <p:nvPr>
            <p:ph type="ftr" sz="quarter" idx="3"/>
          </p:nvPr>
        </p:nvSpPr>
        <p:spPr bwMode="gray">
          <a:xfrm>
            <a:off x="1559496" y="7317432"/>
            <a:ext cx="4392000" cy="144000"/>
          </a:xfrm>
          <a:prstGeom prst="rect">
            <a:avLst/>
          </a:prstGeom>
        </p:spPr>
        <p:txBody>
          <a:bodyPr vert="horz" lIns="0" tIns="0" rIns="0" bIns="0" rtlCol="0" anchor="t">
            <a:noAutofit/>
          </a:bodyPr>
          <a:lstStyle>
            <a:lvl1pPr algn="l">
              <a:defRPr sz="800" spc="20" baseline="0">
                <a:solidFill>
                  <a:schemeClr val="tx1"/>
                </a:solidFill>
              </a:defRPr>
            </a:lvl1pPr>
          </a:lstStyle>
          <a:p>
            <a:endParaRPr lang="en-US" dirty="0"/>
          </a:p>
        </p:txBody>
      </p:sp>
      <p:sp>
        <p:nvSpPr>
          <p:cNvPr id="6" name="Foliennummernplatzhalter 5"/>
          <p:cNvSpPr>
            <a:spLocks noGrp="1"/>
          </p:cNvSpPr>
          <p:nvPr>
            <p:ph type="sldNum" sz="quarter" idx="4"/>
          </p:nvPr>
        </p:nvSpPr>
        <p:spPr bwMode="gray">
          <a:xfrm>
            <a:off x="11176768" y="6381328"/>
            <a:ext cx="391360" cy="144000"/>
          </a:xfrm>
          <a:prstGeom prst="rect">
            <a:avLst/>
          </a:prstGeom>
        </p:spPr>
        <p:txBody>
          <a:bodyPr vert="horz" lIns="0" tIns="0" rIns="0" bIns="0" rtlCol="0" anchor="t">
            <a:noAutofit/>
          </a:bodyPr>
          <a:lstStyle>
            <a:lvl1pPr algn="r">
              <a:defRPr sz="800" spc="20" baseline="0">
                <a:solidFill>
                  <a:schemeClr val="tx1"/>
                </a:solidFill>
              </a:defRPr>
            </a:lvl1pPr>
          </a:lstStyle>
          <a:p>
            <a:r>
              <a:rPr lang="en-US" dirty="0"/>
              <a:t>|  </a:t>
            </a:r>
            <a:fld id="{8FF9B0DE-3FEB-4AA0-B465-B80EF7C1333D}" type="slidenum">
              <a:rPr lang="en-US" smtClean="0"/>
              <a:pPr/>
              <a:t>‹#›</a:t>
            </a:fld>
            <a:endParaRPr lang="en-US" dirty="0"/>
          </a:p>
        </p:txBody>
      </p:sp>
      <p:sp>
        <p:nvSpPr>
          <p:cNvPr id="9" name="Fußzeilenplatzhalter 7">
            <a:extLst>
              <a:ext uri="{FF2B5EF4-FFF2-40B4-BE49-F238E27FC236}">
                <a16:creationId xmlns:a16="http://schemas.microsoft.com/office/drawing/2014/main" id="{B42C15D8-8A65-4417-B793-313E11968321}"/>
              </a:ext>
            </a:extLst>
          </p:cNvPr>
          <p:cNvSpPr txBox="1">
            <a:spLocks/>
          </p:cNvSpPr>
          <p:nvPr userDrawn="1"/>
        </p:nvSpPr>
        <p:spPr bwMode="gray">
          <a:xfrm>
            <a:off x="623888" y="6381328"/>
            <a:ext cx="864000" cy="144000"/>
          </a:xfrm>
          <a:prstGeom prst="rect">
            <a:avLst/>
          </a:prstGeom>
        </p:spPr>
        <p:txBody>
          <a:bodyPr vert="horz" lIns="0" tIns="0" rIns="0" bIns="0" rtlCol="0" anchor="t">
            <a:noAutofit/>
          </a:bodyPr>
          <a:lstStyle>
            <a:defPPr>
              <a:defRPr lang="de-DE"/>
            </a:defPPr>
            <a:lvl1pPr marL="0" algn="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endParaRPr lang="en-US" sz="800" spc="20" baseline="0" dirty="0">
              <a:latin typeface="+mn-lt"/>
            </a:endParaRPr>
          </a:p>
        </p:txBody>
      </p:sp>
    </p:spTree>
    <p:extLst>
      <p:ext uri="{BB962C8B-B14F-4D97-AF65-F5344CB8AC3E}">
        <p14:creationId xmlns:p14="http://schemas.microsoft.com/office/powerpoint/2010/main" val="259861064"/>
      </p:ext>
    </p:extLst>
  </p:cSld>
  <p:clrMap bg1="lt1" tx1="dk1" bg2="lt2" tx2="dk2" accent1="accent1" accent2="accent2" accent3="accent3" accent4="accent4" accent5="accent5" accent6="accent6" hlink="hlink" folHlink="folHlink"/>
  <p:sldLayoutIdLst>
    <p:sldLayoutId id="2147483741" r:id="rId1"/>
    <p:sldLayoutId id="2147483742" r:id="rId2"/>
  </p:sldLayoutIdLst>
  <p:hf hdr="0" ftr="0" dt="0"/>
  <p:txStyles>
    <p:titleStyle>
      <a:lvl1pPr algn="l" defTabSz="914400" rtl="0" eaLnBrk="1" latinLnBrk="0" hangingPunct="1">
        <a:lnSpc>
          <a:spcPct val="100000"/>
        </a:lnSpc>
        <a:spcBef>
          <a:spcPct val="0"/>
        </a:spcBef>
        <a:buNone/>
        <a:defRPr sz="2400" b="0" kern="1200" spc="20" baseline="0">
          <a:solidFill>
            <a:schemeClr val="tx1"/>
          </a:solidFill>
          <a:latin typeface="+mj-lt"/>
          <a:ea typeface="+mj-ea"/>
          <a:cs typeface="+mj-cs"/>
        </a:defRPr>
      </a:lvl1pPr>
    </p:titleStyle>
    <p:bodyStyle>
      <a:lvl1pPr marL="0" indent="0" algn="l" defTabSz="914400" rtl="0" eaLnBrk="1" latinLnBrk="0" hangingPunct="1">
        <a:lnSpc>
          <a:spcPct val="120000"/>
        </a:lnSpc>
        <a:spcBef>
          <a:spcPts val="200"/>
        </a:spcBef>
        <a:spcAft>
          <a:spcPts val="300"/>
        </a:spcAft>
        <a:buFont typeface="Arial" panose="020B0604020202020204" pitchFamily="34" charset="0"/>
        <a:buNone/>
        <a:defRPr sz="1600" b="0" kern="1200" spc="20" baseline="0">
          <a:solidFill>
            <a:schemeClr val="tx1"/>
          </a:solidFill>
          <a:latin typeface="+mn-lt"/>
          <a:ea typeface="+mn-ea"/>
          <a:cs typeface="+mn-cs"/>
        </a:defRPr>
      </a:lvl1pPr>
      <a:lvl2pPr marL="0" indent="0" algn="l" defTabSz="914400" rtl="0" eaLnBrk="1" latinLnBrk="0" hangingPunct="1">
        <a:lnSpc>
          <a:spcPct val="120000"/>
        </a:lnSpc>
        <a:spcBef>
          <a:spcPts val="1600"/>
        </a:spcBef>
        <a:spcAft>
          <a:spcPts val="300"/>
        </a:spcAft>
        <a:buFont typeface="Arial" panose="020B0604020202020204" pitchFamily="34" charset="0"/>
        <a:buNone/>
        <a:defRPr sz="1600" kern="1200" spc="20" baseline="0">
          <a:solidFill>
            <a:schemeClr val="tx1"/>
          </a:solidFill>
          <a:latin typeface="+mj-lt"/>
          <a:ea typeface="+mn-ea"/>
          <a:cs typeface="+mn-cs"/>
        </a:defRPr>
      </a:lvl2pPr>
      <a:lvl3pPr marL="216000" indent="-216000" algn="l" defTabSz="914400" rtl="0" eaLnBrk="1" latinLnBrk="0" hangingPunct="1">
        <a:lnSpc>
          <a:spcPct val="120000"/>
        </a:lnSpc>
        <a:spcBef>
          <a:spcPts val="200"/>
        </a:spcBef>
        <a:spcAft>
          <a:spcPts val="300"/>
        </a:spcAft>
        <a:buFont typeface="Wingdings 2" panose="05020102010507070707" pitchFamily="18" charset="2"/>
        <a:buChar char=""/>
        <a:defRPr sz="1600" kern="1200" spc="20" baseline="0">
          <a:solidFill>
            <a:schemeClr val="tx1"/>
          </a:solidFill>
          <a:latin typeface="+mn-lt"/>
          <a:ea typeface="+mn-ea"/>
          <a:cs typeface="+mn-cs"/>
        </a:defRPr>
      </a:lvl3pPr>
      <a:lvl4pPr marL="432000" indent="-216000" algn="l" defTabSz="914400" rtl="0" eaLnBrk="1" latinLnBrk="0" hangingPunct="1">
        <a:lnSpc>
          <a:spcPct val="120000"/>
        </a:lnSpc>
        <a:spcBef>
          <a:spcPts val="200"/>
        </a:spcBef>
        <a:spcAft>
          <a:spcPts val="300"/>
        </a:spcAft>
        <a:buFont typeface="Symbol" panose="05050102010706020507" pitchFamily="18" charset="2"/>
        <a:buChar char="-"/>
        <a:defRPr sz="1600" kern="1200" spc="20" baseline="0">
          <a:solidFill>
            <a:schemeClr val="tx1"/>
          </a:solidFill>
          <a:latin typeface="+mn-lt"/>
          <a:ea typeface="+mn-ea"/>
          <a:cs typeface="+mn-cs"/>
        </a:defRPr>
      </a:lvl4pPr>
      <a:lvl5pPr marL="648000" indent="-216000" algn="l" defTabSz="914400" rtl="0" eaLnBrk="1" latinLnBrk="0" hangingPunct="1">
        <a:lnSpc>
          <a:spcPct val="120000"/>
        </a:lnSpc>
        <a:spcBef>
          <a:spcPts val="200"/>
        </a:spcBef>
        <a:spcAft>
          <a:spcPts val="300"/>
        </a:spcAft>
        <a:buFont typeface="Symbol" panose="05050102010706020507" pitchFamily="18" charset="2"/>
        <a:buChar char="-"/>
        <a:defRPr sz="1600" kern="1200" spc="20" baseline="0">
          <a:solidFill>
            <a:schemeClr val="tx1"/>
          </a:solidFill>
          <a:latin typeface="+mn-lt"/>
          <a:ea typeface="+mn-ea"/>
          <a:cs typeface="+mn-cs"/>
        </a:defRPr>
      </a:lvl5pPr>
      <a:lvl6pPr marL="648000" indent="-216000" algn="l" defTabSz="914400" rtl="0" eaLnBrk="1" latinLnBrk="0" hangingPunct="1">
        <a:lnSpc>
          <a:spcPct val="120000"/>
        </a:lnSpc>
        <a:spcBef>
          <a:spcPts val="200"/>
        </a:spcBef>
        <a:spcAft>
          <a:spcPts val="300"/>
        </a:spcAft>
        <a:buFont typeface="Symbol" panose="05050102010706020507" pitchFamily="18" charset="2"/>
        <a:buChar char="-"/>
        <a:defRPr sz="1600" kern="1200" spc="20" baseline="0">
          <a:solidFill>
            <a:schemeClr val="tx1"/>
          </a:solidFill>
          <a:latin typeface="+mn-lt"/>
          <a:ea typeface="+mn-ea"/>
          <a:cs typeface="+mn-cs"/>
        </a:defRPr>
      </a:lvl6pPr>
      <a:lvl7pPr marL="648000" indent="-216000" algn="l" defTabSz="914400" rtl="0" eaLnBrk="1" latinLnBrk="0" hangingPunct="1">
        <a:lnSpc>
          <a:spcPct val="120000"/>
        </a:lnSpc>
        <a:spcBef>
          <a:spcPts val="200"/>
        </a:spcBef>
        <a:spcAft>
          <a:spcPts val="300"/>
        </a:spcAft>
        <a:buFont typeface="Symbol" panose="05050102010706020507" pitchFamily="18" charset="2"/>
        <a:buChar char="-"/>
        <a:defRPr sz="1600" kern="1200" spc="20" baseline="0">
          <a:solidFill>
            <a:schemeClr val="tx1"/>
          </a:solidFill>
          <a:latin typeface="+mn-lt"/>
          <a:ea typeface="+mn-ea"/>
          <a:cs typeface="+mn-cs"/>
        </a:defRPr>
      </a:lvl7pPr>
      <a:lvl8pPr marL="648000" indent="-216000" algn="l" defTabSz="914400" rtl="0" eaLnBrk="1" latinLnBrk="0" hangingPunct="1">
        <a:lnSpc>
          <a:spcPct val="120000"/>
        </a:lnSpc>
        <a:spcBef>
          <a:spcPts val="200"/>
        </a:spcBef>
        <a:spcAft>
          <a:spcPts val="300"/>
        </a:spcAft>
        <a:buFont typeface="Symbol" panose="05050102010706020507" pitchFamily="18" charset="2"/>
        <a:buChar char="-"/>
        <a:defRPr sz="1600" kern="1200" spc="20" baseline="0">
          <a:solidFill>
            <a:schemeClr val="tx1"/>
          </a:solidFill>
          <a:latin typeface="+mn-lt"/>
          <a:ea typeface="+mn-ea"/>
          <a:cs typeface="+mn-cs"/>
        </a:defRPr>
      </a:lvl8pPr>
      <a:lvl9pPr marL="648000" indent="-216000" algn="l" defTabSz="914400" rtl="0" eaLnBrk="1" latinLnBrk="0" hangingPunct="1">
        <a:lnSpc>
          <a:spcPct val="120000"/>
        </a:lnSpc>
        <a:spcBef>
          <a:spcPts val="200"/>
        </a:spcBef>
        <a:spcAft>
          <a:spcPts val="300"/>
        </a:spcAft>
        <a:buFont typeface="Symbol" panose="05050102010706020507" pitchFamily="18" charset="2"/>
        <a:buChar char="-"/>
        <a:defRPr sz="1600" kern="1200" spc="20" baseline="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tags" Target="../tags/tag1.xml"/><Relationship Id="rId2" Type="http://schemas.openxmlformats.org/officeDocument/2006/relationships/customXml" Target="../../customXml/item78.xml"/><Relationship Id="rId1" Type="http://schemas.openxmlformats.org/officeDocument/2006/relationships/customXml" Target="../../customXml/item90.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2.bin"/><Relationship Id="rId2" Type="http://schemas.openxmlformats.org/officeDocument/2006/relationships/customXml" Target="../../customXml/item145.xml"/><Relationship Id="rId1" Type="http://schemas.openxmlformats.org/officeDocument/2006/relationships/customXml" Target="../../customXml/item144.xml"/><Relationship Id="rId6" Type="http://schemas.openxmlformats.org/officeDocument/2006/relationships/oleObject" Target="../embeddings/oleObject2.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iekt 4" hidden="1">
            <a:extLst>
              <a:ext uri="{FF2B5EF4-FFF2-40B4-BE49-F238E27FC236}">
                <a16:creationId xmlns:a16="http://schemas.microsoft.com/office/drawing/2014/main" id="{C73A5A5E-C095-4B4E-8374-13B86E3B2455}"/>
              </a:ext>
            </a:extLst>
          </p:cNvPr>
          <p:cNvGraphicFramePr>
            <a:graphicFrameLocks noChangeAspect="1"/>
          </p:cNvGraphicFramePr>
          <p:nvPr>
            <p:custDataLst>
              <p:tags r:id="rId3"/>
            </p:custDataLst>
            <p:extLst>
              <p:ext uri="{D42A27DB-BD31-4B8C-83A1-F6EECF244321}">
                <p14:modId xmlns:p14="http://schemas.microsoft.com/office/powerpoint/2010/main" val="13771416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15" imgH="416" progId="TCLayout.ActiveDocument.1">
                  <p:embed/>
                </p:oleObj>
              </mc:Choice>
              <mc:Fallback>
                <p:oleObj name="think-cell Folie" r:id="rId5" imgW="415" imgH="416" progId="TCLayout.ActiveDocument.1">
                  <p:embed/>
                  <p:pic>
                    <p:nvPicPr>
                      <p:cNvPr id="5" name="Obiekt 4" hidden="1">
                        <a:extLst>
                          <a:ext uri="{FF2B5EF4-FFF2-40B4-BE49-F238E27FC236}">
                            <a16:creationId xmlns:a16="http://schemas.microsoft.com/office/drawing/2014/main" id="{C73A5A5E-C095-4B4E-8374-13B86E3B245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Untertitel 16">
            <a:extLst>
              <a:ext uri="{FF2B5EF4-FFF2-40B4-BE49-F238E27FC236}">
                <a16:creationId xmlns:a16="http://schemas.microsoft.com/office/drawing/2014/main" id="{9B38110F-8A41-4EB6-B231-A928170771D0}"/>
              </a:ext>
            </a:extLst>
          </p:cNvPr>
          <p:cNvSpPr>
            <a:spLocks noGrp="1"/>
          </p:cNvSpPr>
          <p:nvPr>
            <p:ph type="subTitle" idx="17"/>
          </p:nvPr>
        </p:nvSpPr>
        <p:spPr bwMode="gray">
          <a:xfrm>
            <a:off x="9048750" y="3355752"/>
            <a:ext cx="2519858" cy="2810098"/>
          </a:xfrm>
        </p:spPr>
        <p:txBody>
          <a:bodyPr/>
          <a:lstStyle/>
          <a:p>
            <a:endParaRPr lang="en-US" dirty="0"/>
          </a:p>
        </p:txBody>
      </p:sp>
      <p:sp>
        <p:nvSpPr>
          <p:cNvPr id="3" name="Slide Number Placeholder 2">
            <a:extLst>
              <a:ext uri="{FF2B5EF4-FFF2-40B4-BE49-F238E27FC236}">
                <a16:creationId xmlns:a16="http://schemas.microsoft.com/office/drawing/2014/main" id="{0BDC53A5-7E1F-1D1E-3C32-30DBB1429751}"/>
              </a:ext>
            </a:extLst>
          </p:cNvPr>
          <p:cNvSpPr>
            <a:spLocks noGrp="1"/>
          </p:cNvSpPr>
          <p:nvPr>
            <p:ph type="sldNum" sz="quarter" idx="12"/>
          </p:nvPr>
        </p:nvSpPr>
        <p:spPr/>
        <p:txBody>
          <a:bodyPr/>
          <a:lstStyle/>
          <a:p>
            <a:r>
              <a:rPr lang="en-US"/>
              <a:t>|  </a:t>
            </a:r>
            <a:fld id="{8FF9B0DE-3FEB-4AA0-B465-B80EF7C1333D}" type="slidenum">
              <a:rPr lang="en-US" smtClean="0"/>
              <a:pPr/>
              <a:t>1</a:t>
            </a:fld>
            <a:endParaRPr lang="en-US" dirty="0"/>
          </a:p>
        </p:txBody>
      </p:sp>
      <p:sp>
        <p:nvSpPr>
          <p:cNvPr id="2" name="Text Placeholder 1">
            <a:extLst>
              <a:ext uri="{FF2B5EF4-FFF2-40B4-BE49-F238E27FC236}">
                <a16:creationId xmlns:a16="http://schemas.microsoft.com/office/drawing/2014/main" id="{CF50C45D-8CD2-4A6A-538A-2DEA29D2289E}"/>
              </a:ext>
            </a:extLst>
          </p:cNvPr>
          <p:cNvSpPr>
            <a:spLocks noGrp="1"/>
          </p:cNvSpPr>
          <p:nvPr>
            <p:ph type="body" sz="quarter" idx="16"/>
          </p:nvPr>
        </p:nvSpPr>
        <p:spPr/>
        <p:txBody>
          <a:bodyPr/>
          <a:lstStyle/>
          <a:p>
            <a:endParaRPr lang="LID4096"/>
          </a:p>
        </p:txBody>
      </p:sp>
      <p:sp>
        <p:nvSpPr>
          <p:cNvPr id="4" name="Title 3">
            <a:extLst>
              <a:ext uri="{FF2B5EF4-FFF2-40B4-BE49-F238E27FC236}">
                <a16:creationId xmlns:a16="http://schemas.microsoft.com/office/drawing/2014/main" id="{FABF540C-F064-FBA4-4BCB-D6E45F160DAC}"/>
              </a:ext>
            </a:extLst>
          </p:cNvPr>
          <p:cNvSpPr>
            <a:spLocks noGrp="1"/>
          </p:cNvSpPr>
          <p:nvPr>
            <p:ph type="ctrTitle"/>
          </p:nvPr>
        </p:nvSpPr>
        <p:spPr/>
        <p:txBody>
          <a:bodyPr/>
          <a:lstStyle/>
          <a:p>
            <a:endParaRPr lang="LID4096" dirty="0"/>
          </a:p>
        </p:txBody>
      </p:sp>
    </p:spTree>
    <p:custDataLst>
      <p:custData r:id="rId1"/>
      <p:custData r:id="rId2"/>
    </p:custDataLst>
    <p:extLst>
      <p:ext uri="{BB962C8B-B14F-4D97-AF65-F5344CB8AC3E}">
        <p14:creationId xmlns:p14="http://schemas.microsoft.com/office/powerpoint/2010/main" val="3158111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v="urn:schemas-microsoft-com:vml" xmlns:a14="http://schemas.microsoft.com/office/drawing/2010/main" xmlns:asvg="http://schemas.microsoft.com/office/drawing/2016/SVG/main" xmlns:adec="http://schemas.microsoft.com/office/drawing/2017/decorative" xmlns:a16="http://schemas.microsoft.com/office/drawing/2014/main"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65F324EC-A7A4-4682-A32A-EE0E6F2C60A0}"/>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6" imgW="306" imgH="306" progId="TCLayout.ActiveDocument.1">
                  <p:embed/>
                </p:oleObj>
              </mc:Choice>
              <mc:Fallback>
                <p:oleObj name="think-cell Folie" r:id="rId6" imgW="306" imgH="306" progId="TCLayout.ActiveDocument.1">
                  <p:embed/>
                  <p:pic>
                    <p:nvPicPr>
                      <p:cNvPr id="5" name="Objekt 4" hidden="1">
                        <a:extLst>
                          <a:ext uri="{FF2B5EF4-FFF2-40B4-BE49-F238E27FC236}">
                            <a16:creationId xmlns:a16="http://schemas.microsoft.com/office/drawing/2014/main" id="{65F324EC-A7A4-4682-A32A-EE0E6F2C60A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Textplatzhalter 7">
            <a:extLst>
              <a:ext uri="{FF2B5EF4-FFF2-40B4-BE49-F238E27FC236}">
                <a16:creationId xmlns:a16="http://schemas.microsoft.com/office/drawing/2014/main" id="{273624BD-F937-47A1-BA4E-EBBA5ECCEE1F}"/>
              </a:ext>
            </a:extLst>
          </p:cNvPr>
          <p:cNvSpPr>
            <a:spLocks noGrp="1"/>
          </p:cNvSpPr>
          <p:nvPr>
            <p:ph type="body" sz="quarter" idx="16"/>
          </p:nvPr>
        </p:nvSpPr>
        <p:spPr bwMode="gray"/>
        <p:txBody>
          <a:bodyPr/>
          <a:lstStyle/>
          <a:p>
            <a:r>
              <a:rPr lang="en-US" dirty="0"/>
              <a:t>Chapter navigation</a:t>
            </a:r>
          </a:p>
        </p:txBody>
      </p:sp>
      <p:sp>
        <p:nvSpPr>
          <p:cNvPr id="7" name="Titel 6">
            <a:extLst>
              <a:ext uri="{FF2B5EF4-FFF2-40B4-BE49-F238E27FC236}">
                <a16:creationId xmlns:a16="http://schemas.microsoft.com/office/drawing/2014/main" id="{4B9EDC55-89C7-4539-AC10-C60F0C4A0501}"/>
              </a:ext>
            </a:extLst>
          </p:cNvPr>
          <p:cNvSpPr>
            <a:spLocks noGrp="1"/>
          </p:cNvSpPr>
          <p:nvPr>
            <p:ph type="ctrTitle"/>
          </p:nvPr>
        </p:nvSpPr>
        <p:spPr bwMode="gray">
          <a:xfrm>
            <a:off x="614824" y="1196752"/>
            <a:ext cx="2528426" cy="1871663"/>
          </a:xfrm>
        </p:spPr>
        <p:txBody>
          <a:bodyPr/>
          <a:lstStyle/>
          <a:p>
            <a:r>
              <a:rPr lang="en-US" dirty="0"/>
              <a:t>Agenda</a:t>
            </a:r>
          </a:p>
        </p:txBody>
      </p:sp>
      <p:sp>
        <p:nvSpPr>
          <p:cNvPr id="9" name="Untertitel 8">
            <a:extLst>
              <a:ext uri="{FF2B5EF4-FFF2-40B4-BE49-F238E27FC236}">
                <a16:creationId xmlns:a16="http://schemas.microsoft.com/office/drawing/2014/main" id="{488D057F-AC8E-4CF6-A3C0-CDAA75CDFF36}"/>
              </a:ext>
            </a:extLst>
          </p:cNvPr>
          <p:cNvSpPr>
            <a:spLocks noGrp="1"/>
          </p:cNvSpPr>
          <p:nvPr>
            <p:ph type="subTitle" idx="17"/>
          </p:nvPr>
        </p:nvSpPr>
        <p:spPr bwMode="gray">
          <a:xfrm>
            <a:off x="614824" y="3355752"/>
            <a:ext cx="2528426" cy="2810098"/>
          </a:xfrm>
        </p:spPr>
        <p:txBody>
          <a:bodyPr/>
          <a:lstStyle/>
          <a:p>
            <a:endParaRPr lang="en-US" dirty="0"/>
          </a:p>
        </p:txBody>
      </p:sp>
      <p:sp>
        <p:nvSpPr>
          <p:cNvPr id="116" name="Inhaltsplatzhalter 2">
            <a:extLst>
              <a:ext uri="{FF2B5EF4-FFF2-40B4-BE49-F238E27FC236}">
                <a16:creationId xmlns:a16="http://schemas.microsoft.com/office/drawing/2014/main" id="{2ECFC34C-28DE-4C71-8E68-6EA972F55CF4}"/>
              </a:ext>
            </a:extLst>
          </p:cNvPr>
          <p:cNvSpPr txBox="1">
            <a:spLocks/>
          </p:cNvSpPr>
          <p:nvPr/>
        </p:nvSpPr>
        <p:spPr bwMode="gray">
          <a:xfrm>
            <a:off x="3432175" y="548680"/>
            <a:ext cx="1584326" cy="792000"/>
          </a:xfrm>
          <a:prstGeom prst="rect">
            <a:avLst/>
          </a:prstGeom>
        </p:spPr>
        <p:txBody>
          <a:bodyPr lIns="144000" tIns="0" rIns="0" bIns="0" anchor="ctr" anchorCtr="0"/>
          <a:lstStyle>
            <a:lvl1pPr marL="0" indent="0" algn="l" defTabSz="914400" rtl="0" eaLnBrk="1" latinLnBrk="0" hangingPunct="1">
              <a:lnSpc>
                <a:spcPct val="100000"/>
              </a:lnSpc>
              <a:spcBef>
                <a:spcPts val="0"/>
              </a:spcBef>
              <a:spcAft>
                <a:spcPts val="0"/>
              </a:spcAft>
              <a:buFont typeface="Symbol" panose="05050102010706020507" pitchFamily="18" charset="2"/>
              <a:buNone/>
              <a:defRPr sz="4000" b="0" kern="1200">
                <a:solidFill>
                  <a:schemeClr val="tx1"/>
                </a:solidFill>
                <a:latin typeface="+mj-lt"/>
                <a:ea typeface="+mn-ea"/>
                <a:cs typeface="+mn-cs"/>
              </a:defRPr>
            </a:lvl1pPr>
            <a:lvl2pPr marL="0" indent="0" algn="l" defTabSz="914400" rtl="0" eaLnBrk="1" latinLnBrk="0" hangingPunct="1">
              <a:lnSpc>
                <a:spcPct val="100000"/>
              </a:lnSpc>
              <a:spcBef>
                <a:spcPts val="0"/>
              </a:spcBef>
              <a:spcAft>
                <a:spcPts val="0"/>
              </a:spcAft>
              <a:buFont typeface="Arial" panose="020B0604020202020204" pitchFamily="34" charset="0"/>
              <a:buNone/>
              <a:defRPr sz="4000" kern="1200">
                <a:solidFill>
                  <a:schemeClr val="tx1"/>
                </a:solidFill>
                <a:latin typeface="+mj-lt"/>
                <a:ea typeface="+mn-ea"/>
                <a:cs typeface="+mn-cs"/>
              </a:defRPr>
            </a:lvl2pPr>
            <a:lvl3pPr marL="0" indent="0" algn="l" defTabSz="914400" rtl="0" eaLnBrk="1" latinLnBrk="0" hangingPunct="1">
              <a:lnSpc>
                <a:spcPct val="100000"/>
              </a:lnSpc>
              <a:spcBef>
                <a:spcPts val="0"/>
              </a:spcBef>
              <a:spcAft>
                <a:spcPts val="0"/>
              </a:spcAft>
              <a:buFont typeface="Arial" panose="020B0604020202020204" pitchFamily="34" charset="0"/>
              <a:buNone/>
              <a:defRPr sz="4000" kern="1200">
                <a:solidFill>
                  <a:schemeClr val="tx1"/>
                </a:solidFill>
                <a:latin typeface="+mj-lt"/>
                <a:ea typeface="+mn-ea"/>
                <a:cs typeface="+mn-cs"/>
              </a:defRPr>
            </a:lvl3pPr>
            <a:lvl4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4pPr>
            <a:lvl5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5pPr>
            <a:lvl6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6pPr>
            <a:lvl7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7pPr>
            <a:lvl8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8pPr>
            <a:lvl9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9pPr>
          </a:lstStyle>
          <a:p>
            <a:r>
              <a:rPr lang="en-US" sz="6000" spc="20" dirty="0">
                <a:latin typeface="AA Zuehlke Medium" panose="02000603060000020004" pitchFamily="2" charset="0"/>
              </a:rPr>
              <a:t>01</a:t>
            </a:r>
          </a:p>
        </p:txBody>
      </p:sp>
      <p:grpSp>
        <p:nvGrpSpPr>
          <p:cNvPr id="6" name="Gruppieren 5">
            <a:extLst>
              <a:ext uri="{FF2B5EF4-FFF2-40B4-BE49-F238E27FC236}">
                <a16:creationId xmlns:a16="http://schemas.microsoft.com/office/drawing/2014/main" id="{C7251A54-065E-4045-ABD1-47F48F849BB2}"/>
              </a:ext>
            </a:extLst>
          </p:cNvPr>
          <p:cNvGrpSpPr/>
          <p:nvPr/>
        </p:nvGrpSpPr>
        <p:grpSpPr bwMode="gray">
          <a:xfrm>
            <a:off x="3431704" y="548680"/>
            <a:ext cx="0" cy="1584024"/>
            <a:chOff x="3431704" y="548680"/>
            <a:chExt cx="0" cy="1584024"/>
          </a:xfrm>
        </p:grpSpPr>
        <p:cxnSp>
          <p:nvCxnSpPr>
            <p:cNvPr id="118" name="Straight Connector 30">
              <a:extLst>
                <a:ext uri="{FF2B5EF4-FFF2-40B4-BE49-F238E27FC236}">
                  <a16:creationId xmlns:a16="http://schemas.microsoft.com/office/drawing/2014/main" id="{4E932343-152E-4189-9E90-F53D0905C3E1}"/>
                </a:ext>
                <a:ext uri="{C183D7F6-B498-43B3-948B-1728B52AA6E4}">
                  <adec:decorative xmlns:adec="http://schemas.microsoft.com/office/drawing/2017/decorative" val="1"/>
                </a:ext>
              </a:extLst>
            </p:cNvPr>
            <p:cNvCxnSpPr>
              <a:cxnSpLocks/>
            </p:cNvCxnSpPr>
            <p:nvPr/>
          </p:nvCxnSpPr>
          <p:spPr bwMode="gray">
            <a:xfrm flipV="1">
              <a:off x="3431704" y="548680"/>
              <a:ext cx="0" cy="79200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9" name="Straight Connector 30">
              <a:extLst>
                <a:ext uri="{FF2B5EF4-FFF2-40B4-BE49-F238E27FC236}">
                  <a16:creationId xmlns:a16="http://schemas.microsoft.com/office/drawing/2014/main" id="{F572C6C6-C96E-4A60-B4DE-B5EB6BC8C9A2}"/>
                </a:ext>
                <a:ext uri="{C183D7F6-B498-43B3-948B-1728B52AA6E4}">
                  <adec:decorative xmlns:adec="http://schemas.microsoft.com/office/drawing/2017/decorative" val="1"/>
                </a:ext>
              </a:extLst>
            </p:cNvPr>
            <p:cNvCxnSpPr>
              <a:cxnSpLocks/>
            </p:cNvCxnSpPr>
            <p:nvPr/>
          </p:nvCxnSpPr>
          <p:spPr bwMode="gray">
            <a:xfrm flipV="1">
              <a:off x="3431704" y="1340704"/>
              <a:ext cx="0" cy="792000"/>
            </a:xfrm>
            <a:prstGeom prst="line">
              <a:avLst/>
            </a:prstGeom>
            <a:ln w="9525">
              <a:solidFill>
                <a:schemeClr val="tx2">
                  <a:alpha val="50000"/>
                </a:schemeClr>
              </a:solidFill>
            </a:ln>
          </p:spPr>
          <p:style>
            <a:lnRef idx="1">
              <a:schemeClr val="accent1"/>
            </a:lnRef>
            <a:fillRef idx="0">
              <a:schemeClr val="accent1"/>
            </a:fillRef>
            <a:effectRef idx="0">
              <a:schemeClr val="accent1"/>
            </a:effectRef>
            <a:fontRef idx="minor">
              <a:schemeClr val="tx1"/>
            </a:fontRef>
          </p:style>
        </p:cxnSp>
      </p:grpSp>
      <p:sp>
        <p:nvSpPr>
          <p:cNvPr id="120" name="Inhaltsplatzhalter 2">
            <a:extLst>
              <a:ext uri="{FF2B5EF4-FFF2-40B4-BE49-F238E27FC236}">
                <a16:creationId xmlns:a16="http://schemas.microsoft.com/office/drawing/2014/main" id="{A4467D7F-F4BF-4052-8981-36208F11D3CA}"/>
              </a:ext>
            </a:extLst>
          </p:cNvPr>
          <p:cNvSpPr txBox="1">
            <a:spLocks/>
          </p:cNvSpPr>
          <p:nvPr/>
        </p:nvSpPr>
        <p:spPr bwMode="gray">
          <a:xfrm>
            <a:off x="6240487" y="548680"/>
            <a:ext cx="1584326" cy="792000"/>
          </a:xfrm>
          <a:prstGeom prst="rect">
            <a:avLst/>
          </a:prstGeom>
        </p:spPr>
        <p:txBody>
          <a:bodyPr lIns="144000" tIns="0" rIns="0" bIns="0" anchor="ctr" anchorCtr="0"/>
          <a:lstStyle>
            <a:lvl1pPr marL="0" indent="0" algn="l" defTabSz="914400" rtl="0" eaLnBrk="1" latinLnBrk="0" hangingPunct="1">
              <a:lnSpc>
                <a:spcPct val="100000"/>
              </a:lnSpc>
              <a:spcBef>
                <a:spcPts val="0"/>
              </a:spcBef>
              <a:spcAft>
                <a:spcPts val="0"/>
              </a:spcAft>
              <a:buFont typeface="Symbol" panose="05050102010706020507" pitchFamily="18" charset="2"/>
              <a:buNone/>
              <a:defRPr sz="4000" b="0" kern="1200">
                <a:solidFill>
                  <a:schemeClr val="tx1"/>
                </a:solidFill>
                <a:latin typeface="+mj-lt"/>
                <a:ea typeface="+mn-ea"/>
                <a:cs typeface="+mn-cs"/>
              </a:defRPr>
            </a:lvl1pPr>
            <a:lvl2pPr marL="0" indent="0" algn="l" defTabSz="914400" rtl="0" eaLnBrk="1" latinLnBrk="0" hangingPunct="1">
              <a:lnSpc>
                <a:spcPct val="100000"/>
              </a:lnSpc>
              <a:spcBef>
                <a:spcPts val="0"/>
              </a:spcBef>
              <a:spcAft>
                <a:spcPts val="0"/>
              </a:spcAft>
              <a:buFont typeface="Arial" panose="020B0604020202020204" pitchFamily="34" charset="0"/>
              <a:buNone/>
              <a:defRPr sz="4000" kern="1200">
                <a:solidFill>
                  <a:schemeClr val="tx1"/>
                </a:solidFill>
                <a:latin typeface="+mj-lt"/>
                <a:ea typeface="+mn-ea"/>
                <a:cs typeface="+mn-cs"/>
              </a:defRPr>
            </a:lvl2pPr>
            <a:lvl3pPr marL="0" indent="0" algn="l" defTabSz="914400" rtl="0" eaLnBrk="1" latinLnBrk="0" hangingPunct="1">
              <a:lnSpc>
                <a:spcPct val="100000"/>
              </a:lnSpc>
              <a:spcBef>
                <a:spcPts val="0"/>
              </a:spcBef>
              <a:spcAft>
                <a:spcPts val="0"/>
              </a:spcAft>
              <a:buFont typeface="Arial" panose="020B0604020202020204" pitchFamily="34" charset="0"/>
              <a:buNone/>
              <a:defRPr sz="4000" kern="1200">
                <a:solidFill>
                  <a:schemeClr val="tx1"/>
                </a:solidFill>
                <a:latin typeface="+mj-lt"/>
                <a:ea typeface="+mn-ea"/>
                <a:cs typeface="+mn-cs"/>
              </a:defRPr>
            </a:lvl3pPr>
            <a:lvl4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4pPr>
            <a:lvl5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5pPr>
            <a:lvl6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6pPr>
            <a:lvl7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7pPr>
            <a:lvl8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8pPr>
            <a:lvl9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9pPr>
          </a:lstStyle>
          <a:p>
            <a:r>
              <a:rPr lang="en-US" sz="6000" spc="20" dirty="0">
                <a:latin typeface="AA Zuehlke Medium" panose="02000603060000020004" pitchFamily="2" charset="0"/>
              </a:rPr>
              <a:t>02</a:t>
            </a:r>
          </a:p>
        </p:txBody>
      </p:sp>
      <p:grpSp>
        <p:nvGrpSpPr>
          <p:cNvPr id="10" name="Gruppieren 9">
            <a:extLst>
              <a:ext uri="{FF2B5EF4-FFF2-40B4-BE49-F238E27FC236}">
                <a16:creationId xmlns:a16="http://schemas.microsoft.com/office/drawing/2014/main" id="{605CDCB6-C7BD-4D9D-AC6D-9280D0CD041E}"/>
              </a:ext>
            </a:extLst>
          </p:cNvPr>
          <p:cNvGrpSpPr/>
          <p:nvPr/>
        </p:nvGrpSpPr>
        <p:grpSpPr bwMode="gray">
          <a:xfrm>
            <a:off x="6240016" y="548680"/>
            <a:ext cx="0" cy="1584024"/>
            <a:chOff x="6240016" y="548680"/>
            <a:chExt cx="0" cy="1584024"/>
          </a:xfrm>
        </p:grpSpPr>
        <p:cxnSp>
          <p:nvCxnSpPr>
            <p:cNvPr id="122" name="Straight Connector 30">
              <a:extLst>
                <a:ext uri="{FF2B5EF4-FFF2-40B4-BE49-F238E27FC236}">
                  <a16:creationId xmlns:a16="http://schemas.microsoft.com/office/drawing/2014/main" id="{704CC957-B4C4-49AF-A0CC-BC37E88ED770}"/>
                </a:ext>
                <a:ext uri="{C183D7F6-B498-43B3-948B-1728B52AA6E4}">
                  <adec:decorative xmlns:adec="http://schemas.microsoft.com/office/drawing/2017/decorative" val="1"/>
                </a:ext>
              </a:extLst>
            </p:cNvPr>
            <p:cNvCxnSpPr>
              <a:cxnSpLocks/>
            </p:cNvCxnSpPr>
            <p:nvPr/>
          </p:nvCxnSpPr>
          <p:spPr bwMode="gray">
            <a:xfrm flipV="1">
              <a:off x="6240016" y="548680"/>
              <a:ext cx="0" cy="79200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23" name="Straight Connector 30">
              <a:extLst>
                <a:ext uri="{FF2B5EF4-FFF2-40B4-BE49-F238E27FC236}">
                  <a16:creationId xmlns:a16="http://schemas.microsoft.com/office/drawing/2014/main" id="{8B0CA94A-72F0-42CF-9A07-DB77016A6487}"/>
                </a:ext>
                <a:ext uri="{C183D7F6-B498-43B3-948B-1728B52AA6E4}">
                  <adec:decorative xmlns:adec="http://schemas.microsoft.com/office/drawing/2017/decorative" val="1"/>
                </a:ext>
              </a:extLst>
            </p:cNvPr>
            <p:cNvCxnSpPr>
              <a:cxnSpLocks/>
            </p:cNvCxnSpPr>
            <p:nvPr/>
          </p:nvCxnSpPr>
          <p:spPr bwMode="gray">
            <a:xfrm flipV="1">
              <a:off x="6240016" y="1340704"/>
              <a:ext cx="0" cy="792000"/>
            </a:xfrm>
            <a:prstGeom prst="line">
              <a:avLst/>
            </a:prstGeom>
            <a:ln w="9525">
              <a:solidFill>
                <a:schemeClr val="tx2">
                  <a:alpha val="50000"/>
                </a:schemeClr>
              </a:solidFill>
            </a:ln>
          </p:spPr>
          <p:style>
            <a:lnRef idx="1">
              <a:schemeClr val="accent1"/>
            </a:lnRef>
            <a:fillRef idx="0">
              <a:schemeClr val="accent1"/>
            </a:fillRef>
            <a:effectRef idx="0">
              <a:schemeClr val="accent1"/>
            </a:effectRef>
            <a:fontRef idx="minor">
              <a:schemeClr val="tx1"/>
            </a:fontRef>
          </p:style>
        </p:cxnSp>
      </p:grpSp>
      <p:sp>
        <p:nvSpPr>
          <p:cNvPr id="124" name="Inhaltsplatzhalter 2">
            <a:extLst>
              <a:ext uri="{FF2B5EF4-FFF2-40B4-BE49-F238E27FC236}">
                <a16:creationId xmlns:a16="http://schemas.microsoft.com/office/drawing/2014/main" id="{38743FFD-2B65-452A-8521-E2BB4B01E9E0}"/>
              </a:ext>
            </a:extLst>
          </p:cNvPr>
          <p:cNvSpPr txBox="1">
            <a:spLocks/>
          </p:cNvSpPr>
          <p:nvPr/>
        </p:nvSpPr>
        <p:spPr bwMode="gray">
          <a:xfrm>
            <a:off x="9048799" y="548680"/>
            <a:ext cx="1584326" cy="792000"/>
          </a:xfrm>
          <a:prstGeom prst="rect">
            <a:avLst/>
          </a:prstGeom>
        </p:spPr>
        <p:txBody>
          <a:bodyPr lIns="144000" tIns="0" rIns="0" bIns="0" anchor="ctr" anchorCtr="0"/>
          <a:lstStyle>
            <a:lvl1pPr marL="0" indent="0" algn="l" defTabSz="914400" rtl="0" eaLnBrk="1" latinLnBrk="0" hangingPunct="1">
              <a:lnSpc>
                <a:spcPct val="100000"/>
              </a:lnSpc>
              <a:spcBef>
                <a:spcPts val="0"/>
              </a:spcBef>
              <a:spcAft>
                <a:spcPts val="0"/>
              </a:spcAft>
              <a:buFont typeface="Symbol" panose="05050102010706020507" pitchFamily="18" charset="2"/>
              <a:buNone/>
              <a:defRPr sz="4000" b="0" kern="1200">
                <a:solidFill>
                  <a:schemeClr val="tx1"/>
                </a:solidFill>
                <a:latin typeface="+mj-lt"/>
                <a:ea typeface="+mn-ea"/>
                <a:cs typeface="+mn-cs"/>
              </a:defRPr>
            </a:lvl1pPr>
            <a:lvl2pPr marL="0" indent="0" algn="l" defTabSz="914400" rtl="0" eaLnBrk="1" latinLnBrk="0" hangingPunct="1">
              <a:lnSpc>
                <a:spcPct val="100000"/>
              </a:lnSpc>
              <a:spcBef>
                <a:spcPts val="0"/>
              </a:spcBef>
              <a:spcAft>
                <a:spcPts val="0"/>
              </a:spcAft>
              <a:buFont typeface="Arial" panose="020B0604020202020204" pitchFamily="34" charset="0"/>
              <a:buNone/>
              <a:defRPr sz="4000" kern="1200">
                <a:solidFill>
                  <a:schemeClr val="tx1"/>
                </a:solidFill>
                <a:latin typeface="+mj-lt"/>
                <a:ea typeface="+mn-ea"/>
                <a:cs typeface="+mn-cs"/>
              </a:defRPr>
            </a:lvl2pPr>
            <a:lvl3pPr marL="0" indent="0" algn="l" defTabSz="914400" rtl="0" eaLnBrk="1" latinLnBrk="0" hangingPunct="1">
              <a:lnSpc>
                <a:spcPct val="100000"/>
              </a:lnSpc>
              <a:spcBef>
                <a:spcPts val="0"/>
              </a:spcBef>
              <a:spcAft>
                <a:spcPts val="0"/>
              </a:spcAft>
              <a:buFont typeface="Arial" panose="020B0604020202020204" pitchFamily="34" charset="0"/>
              <a:buNone/>
              <a:defRPr sz="4000" kern="1200">
                <a:solidFill>
                  <a:schemeClr val="tx1"/>
                </a:solidFill>
                <a:latin typeface="+mj-lt"/>
                <a:ea typeface="+mn-ea"/>
                <a:cs typeface="+mn-cs"/>
              </a:defRPr>
            </a:lvl3pPr>
            <a:lvl4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4pPr>
            <a:lvl5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5pPr>
            <a:lvl6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6pPr>
            <a:lvl7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7pPr>
            <a:lvl8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8pPr>
            <a:lvl9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9pPr>
          </a:lstStyle>
          <a:p>
            <a:r>
              <a:rPr lang="en-US" sz="6000" spc="20" dirty="0">
                <a:latin typeface="AA Zuehlke Medium" panose="02000603060000020004" pitchFamily="2" charset="0"/>
              </a:rPr>
              <a:t>03</a:t>
            </a:r>
          </a:p>
        </p:txBody>
      </p:sp>
      <p:grpSp>
        <p:nvGrpSpPr>
          <p:cNvPr id="11" name="Gruppieren 10">
            <a:extLst>
              <a:ext uri="{FF2B5EF4-FFF2-40B4-BE49-F238E27FC236}">
                <a16:creationId xmlns:a16="http://schemas.microsoft.com/office/drawing/2014/main" id="{2CB36855-EE39-4EC8-8EF9-F3B475416219}"/>
              </a:ext>
            </a:extLst>
          </p:cNvPr>
          <p:cNvGrpSpPr/>
          <p:nvPr/>
        </p:nvGrpSpPr>
        <p:grpSpPr bwMode="gray">
          <a:xfrm>
            <a:off x="9048328" y="548680"/>
            <a:ext cx="0" cy="1584024"/>
            <a:chOff x="9048328" y="548680"/>
            <a:chExt cx="0" cy="1584024"/>
          </a:xfrm>
        </p:grpSpPr>
        <p:cxnSp>
          <p:nvCxnSpPr>
            <p:cNvPr id="126" name="Straight Connector 30">
              <a:extLst>
                <a:ext uri="{FF2B5EF4-FFF2-40B4-BE49-F238E27FC236}">
                  <a16:creationId xmlns:a16="http://schemas.microsoft.com/office/drawing/2014/main" id="{29CAE64B-3003-497C-984D-0F3194575AE8}"/>
                </a:ext>
                <a:ext uri="{C183D7F6-B498-43B3-948B-1728B52AA6E4}">
                  <adec:decorative xmlns:adec="http://schemas.microsoft.com/office/drawing/2017/decorative" val="1"/>
                </a:ext>
              </a:extLst>
            </p:cNvPr>
            <p:cNvCxnSpPr>
              <a:cxnSpLocks/>
            </p:cNvCxnSpPr>
            <p:nvPr/>
          </p:nvCxnSpPr>
          <p:spPr bwMode="gray">
            <a:xfrm flipV="1">
              <a:off x="9048328" y="548680"/>
              <a:ext cx="0" cy="79200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27" name="Straight Connector 30">
              <a:extLst>
                <a:ext uri="{FF2B5EF4-FFF2-40B4-BE49-F238E27FC236}">
                  <a16:creationId xmlns:a16="http://schemas.microsoft.com/office/drawing/2014/main" id="{AE713DFD-5C3A-4DFC-909F-B389A2AE28C2}"/>
                </a:ext>
                <a:ext uri="{C183D7F6-B498-43B3-948B-1728B52AA6E4}">
                  <adec:decorative xmlns:adec="http://schemas.microsoft.com/office/drawing/2017/decorative" val="1"/>
                </a:ext>
              </a:extLst>
            </p:cNvPr>
            <p:cNvCxnSpPr>
              <a:cxnSpLocks/>
            </p:cNvCxnSpPr>
            <p:nvPr/>
          </p:nvCxnSpPr>
          <p:spPr bwMode="gray">
            <a:xfrm flipV="1">
              <a:off x="9048328" y="1340704"/>
              <a:ext cx="0" cy="792000"/>
            </a:xfrm>
            <a:prstGeom prst="line">
              <a:avLst/>
            </a:prstGeom>
            <a:ln w="9525">
              <a:solidFill>
                <a:schemeClr val="tx2">
                  <a:alpha val="50000"/>
                </a:schemeClr>
              </a:solidFill>
            </a:ln>
          </p:spPr>
          <p:style>
            <a:lnRef idx="1">
              <a:schemeClr val="accent1"/>
            </a:lnRef>
            <a:fillRef idx="0">
              <a:schemeClr val="accent1"/>
            </a:fillRef>
            <a:effectRef idx="0">
              <a:schemeClr val="accent1"/>
            </a:effectRef>
            <a:fontRef idx="minor">
              <a:schemeClr val="tx1"/>
            </a:fontRef>
          </p:style>
        </p:cxnSp>
      </p:grpSp>
      <p:sp>
        <p:nvSpPr>
          <p:cNvPr id="128" name="Inhaltsplatzhalter 2">
            <a:extLst>
              <a:ext uri="{FF2B5EF4-FFF2-40B4-BE49-F238E27FC236}">
                <a16:creationId xmlns:a16="http://schemas.microsoft.com/office/drawing/2014/main" id="{A2939B2E-B16B-4369-8F32-00F9D963326C}"/>
              </a:ext>
            </a:extLst>
          </p:cNvPr>
          <p:cNvSpPr txBox="1">
            <a:spLocks/>
          </p:cNvSpPr>
          <p:nvPr/>
        </p:nvSpPr>
        <p:spPr bwMode="gray">
          <a:xfrm>
            <a:off x="3432175" y="2565056"/>
            <a:ext cx="1584326" cy="792000"/>
          </a:xfrm>
          <a:prstGeom prst="rect">
            <a:avLst/>
          </a:prstGeom>
        </p:spPr>
        <p:txBody>
          <a:bodyPr lIns="144000" tIns="0" rIns="0" bIns="0" anchor="ctr" anchorCtr="0"/>
          <a:lstStyle>
            <a:lvl1pPr marL="0" indent="0" algn="l" defTabSz="914400" rtl="0" eaLnBrk="1" latinLnBrk="0" hangingPunct="1">
              <a:lnSpc>
                <a:spcPct val="100000"/>
              </a:lnSpc>
              <a:spcBef>
                <a:spcPts val="0"/>
              </a:spcBef>
              <a:spcAft>
                <a:spcPts val="0"/>
              </a:spcAft>
              <a:buFont typeface="Symbol" panose="05050102010706020507" pitchFamily="18" charset="2"/>
              <a:buNone/>
              <a:defRPr sz="4000" b="0" kern="1200">
                <a:solidFill>
                  <a:schemeClr val="tx1"/>
                </a:solidFill>
                <a:latin typeface="+mj-lt"/>
                <a:ea typeface="+mn-ea"/>
                <a:cs typeface="+mn-cs"/>
              </a:defRPr>
            </a:lvl1pPr>
            <a:lvl2pPr marL="0" indent="0" algn="l" defTabSz="914400" rtl="0" eaLnBrk="1" latinLnBrk="0" hangingPunct="1">
              <a:lnSpc>
                <a:spcPct val="100000"/>
              </a:lnSpc>
              <a:spcBef>
                <a:spcPts val="0"/>
              </a:spcBef>
              <a:spcAft>
                <a:spcPts val="0"/>
              </a:spcAft>
              <a:buFont typeface="Arial" panose="020B0604020202020204" pitchFamily="34" charset="0"/>
              <a:buNone/>
              <a:defRPr sz="4000" kern="1200">
                <a:solidFill>
                  <a:schemeClr val="tx1"/>
                </a:solidFill>
                <a:latin typeface="+mj-lt"/>
                <a:ea typeface="+mn-ea"/>
                <a:cs typeface="+mn-cs"/>
              </a:defRPr>
            </a:lvl2pPr>
            <a:lvl3pPr marL="0" indent="0" algn="l" defTabSz="914400" rtl="0" eaLnBrk="1" latinLnBrk="0" hangingPunct="1">
              <a:lnSpc>
                <a:spcPct val="100000"/>
              </a:lnSpc>
              <a:spcBef>
                <a:spcPts val="0"/>
              </a:spcBef>
              <a:spcAft>
                <a:spcPts val="0"/>
              </a:spcAft>
              <a:buFont typeface="Arial" panose="020B0604020202020204" pitchFamily="34" charset="0"/>
              <a:buNone/>
              <a:defRPr sz="4000" kern="1200">
                <a:solidFill>
                  <a:schemeClr val="tx1"/>
                </a:solidFill>
                <a:latin typeface="+mj-lt"/>
                <a:ea typeface="+mn-ea"/>
                <a:cs typeface="+mn-cs"/>
              </a:defRPr>
            </a:lvl3pPr>
            <a:lvl4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4pPr>
            <a:lvl5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5pPr>
            <a:lvl6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6pPr>
            <a:lvl7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7pPr>
            <a:lvl8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8pPr>
            <a:lvl9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9pPr>
          </a:lstStyle>
          <a:p>
            <a:r>
              <a:rPr lang="en-US" sz="6000" spc="20" dirty="0">
                <a:latin typeface="AA Zuehlke Medium" panose="02000603060000020004" pitchFamily="2" charset="0"/>
              </a:rPr>
              <a:t>04</a:t>
            </a:r>
          </a:p>
        </p:txBody>
      </p:sp>
      <p:grpSp>
        <p:nvGrpSpPr>
          <p:cNvPr id="17" name="Gruppieren 16">
            <a:extLst>
              <a:ext uri="{FF2B5EF4-FFF2-40B4-BE49-F238E27FC236}">
                <a16:creationId xmlns:a16="http://schemas.microsoft.com/office/drawing/2014/main" id="{675A6FA0-2684-47BC-BDF5-961AD4E27925}"/>
              </a:ext>
            </a:extLst>
          </p:cNvPr>
          <p:cNvGrpSpPr/>
          <p:nvPr/>
        </p:nvGrpSpPr>
        <p:grpSpPr bwMode="gray">
          <a:xfrm>
            <a:off x="3431704" y="2565056"/>
            <a:ext cx="0" cy="1584024"/>
            <a:chOff x="3431704" y="2565056"/>
            <a:chExt cx="0" cy="1584024"/>
          </a:xfrm>
        </p:grpSpPr>
        <p:cxnSp>
          <p:nvCxnSpPr>
            <p:cNvPr id="130" name="Straight Connector 30">
              <a:extLst>
                <a:ext uri="{FF2B5EF4-FFF2-40B4-BE49-F238E27FC236}">
                  <a16:creationId xmlns:a16="http://schemas.microsoft.com/office/drawing/2014/main" id="{CC97B349-DE67-4A51-AFAC-16BC005F89C0}"/>
                </a:ext>
                <a:ext uri="{C183D7F6-B498-43B3-948B-1728B52AA6E4}">
                  <adec:decorative xmlns:adec="http://schemas.microsoft.com/office/drawing/2017/decorative" val="1"/>
                </a:ext>
              </a:extLst>
            </p:cNvPr>
            <p:cNvCxnSpPr>
              <a:cxnSpLocks/>
            </p:cNvCxnSpPr>
            <p:nvPr/>
          </p:nvCxnSpPr>
          <p:spPr bwMode="gray">
            <a:xfrm flipV="1">
              <a:off x="3431704" y="2565056"/>
              <a:ext cx="0" cy="79200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31" name="Straight Connector 30">
              <a:extLst>
                <a:ext uri="{FF2B5EF4-FFF2-40B4-BE49-F238E27FC236}">
                  <a16:creationId xmlns:a16="http://schemas.microsoft.com/office/drawing/2014/main" id="{60291208-C15B-4FF0-B004-4698FF1C41A5}"/>
                </a:ext>
                <a:ext uri="{C183D7F6-B498-43B3-948B-1728B52AA6E4}">
                  <adec:decorative xmlns:adec="http://schemas.microsoft.com/office/drawing/2017/decorative" val="1"/>
                </a:ext>
              </a:extLst>
            </p:cNvPr>
            <p:cNvCxnSpPr>
              <a:cxnSpLocks/>
            </p:cNvCxnSpPr>
            <p:nvPr/>
          </p:nvCxnSpPr>
          <p:spPr bwMode="gray">
            <a:xfrm flipV="1">
              <a:off x="3431704" y="3357080"/>
              <a:ext cx="0" cy="792000"/>
            </a:xfrm>
            <a:prstGeom prst="line">
              <a:avLst/>
            </a:prstGeom>
            <a:ln w="9525">
              <a:solidFill>
                <a:schemeClr val="tx2">
                  <a:alpha val="50000"/>
                </a:schemeClr>
              </a:solidFill>
            </a:ln>
          </p:spPr>
          <p:style>
            <a:lnRef idx="1">
              <a:schemeClr val="accent1"/>
            </a:lnRef>
            <a:fillRef idx="0">
              <a:schemeClr val="accent1"/>
            </a:fillRef>
            <a:effectRef idx="0">
              <a:schemeClr val="accent1"/>
            </a:effectRef>
            <a:fontRef idx="minor">
              <a:schemeClr val="tx1"/>
            </a:fontRef>
          </p:style>
        </p:cxnSp>
      </p:grpSp>
      <p:sp>
        <p:nvSpPr>
          <p:cNvPr id="132" name="Inhaltsplatzhalter 2">
            <a:extLst>
              <a:ext uri="{FF2B5EF4-FFF2-40B4-BE49-F238E27FC236}">
                <a16:creationId xmlns:a16="http://schemas.microsoft.com/office/drawing/2014/main" id="{E8669839-FDBA-4011-BE06-F291A00670FA}"/>
              </a:ext>
            </a:extLst>
          </p:cNvPr>
          <p:cNvSpPr txBox="1">
            <a:spLocks/>
          </p:cNvSpPr>
          <p:nvPr/>
        </p:nvSpPr>
        <p:spPr bwMode="gray">
          <a:xfrm>
            <a:off x="6240487" y="2565056"/>
            <a:ext cx="1584326" cy="792000"/>
          </a:xfrm>
          <a:prstGeom prst="rect">
            <a:avLst/>
          </a:prstGeom>
        </p:spPr>
        <p:txBody>
          <a:bodyPr lIns="144000" tIns="0" rIns="0" bIns="0" anchor="ctr" anchorCtr="0"/>
          <a:lstStyle>
            <a:lvl1pPr marL="0" indent="0" algn="l" defTabSz="914400" rtl="0" eaLnBrk="1" latinLnBrk="0" hangingPunct="1">
              <a:lnSpc>
                <a:spcPct val="100000"/>
              </a:lnSpc>
              <a:spcBef>
                <a:spcPts val="0"/>
              </a:spcBef>
              <a:spcAft>
                <a:spcPts val="0"/>
              </a:spcAft>
              <a:buFont typeface="Symbol" panose="05050102010706020507" pitchFamily="18" charset="2"/>
              <a:buNone/>
              <a:defRPr sz="4000" b="0" kern="1200">
                <a:solidFill>
                  <a:schemeClr val="tx1"/>
                </a:solidFill>
                <a:latin typeface="+mj-lt"/>
                <a:ea typeface="+mn-ea"/>
                <a:cs typeface="+mn-cs"/>
              </a:defRPr>
            </a:lvl1pPr>
            <a:lvl2pPr marL="0" indent="0" algn="l" defTabSz="914400" rtl="0" eaLnBrk="1" latinLnBrk="0" hangingPunct="1">
              <a:lnSpc>
                <a:spcPct val="100000"/>
              </a:lnSpc>
              <a:spcBef>
                <a:spcPts val="0"/>
              </a:spcBef>
              <a:spcAft>
                <a:spcPts val="0"/>
              </a:spcAft>
              <a:buFont typeface="Arial" panose="020B0604020202020204" pitchFamily="34" charset="0"/>
              <a:buNone/>
              <a:defRPr sz="4000" kern="1200">
                <a:solidFill>
                  <a:schemeClr val="tx1"/>
                </a:solidFill>
                <a:latin typeface="+mj-lt"/>
                <a:ea typeface="+mn-ea"/>
                <a:cs typeface="+mn-cs"/>
              </a:defRPr>
            </a:lvl2pPr>
            <a:lvl3pPr marL="0" indent="0" algn="l" defTabSz="914400" rtl="0" eaLnBrk="1" latinLnBrk="0" hangingPunct="1">
              <a:lnSpc>
                <a:spcPct val="100000"/>
              </a:lnSpc>
              <a:spcBef>
                <a:spcPts val="0"/>
              </a:spcBef>
              <a:spcAft>
                <a:spcPts val="0"/>
              </a:spcAft>
              <a:buFont typeface="Arial" panose="020B0604020202020204" pitchFamily="34" charset="0"/>
              <a:buNone/>
              <a:defRPr sz="4000" kern="1200">
                <a:solidFill>
                  <a:schemeClr val="tx1"/>
                </a:solidFill>
                <a:latin typeface="+mj-lt"/>
                <a:ea typeface="+mn-ea"/>
                <a:cs typeface="+mn-cs"/>
              </a:defRPr>
            </a:lvl3pPr>
            <a:lvl4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4pPr>
            <a:lvl5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5pPr>
            <a:lvl6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6pPr>
            <a:lvl7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7pPr>
            <a:lvl8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8pPr>
            <a:lvl9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9pPr>
          </a:lstStyle>
          <a:p>
            <a:r>
              <a:rPr lang="en-US" sz="6000" spc="20" dirty="0">
                <a:latin typeface="AA Zuehlke Medium" panose="02000603060000020004" pitchFamily="2" charset="0"/>
              </a:rPr>
              <a:t>05</a:t>
            </a:r>
          </a:p>
        </p:txBody>
      </p:sp>
      <p:grpSp>
        <p:nvGrpSpPr>
          <p:cNvPr id="16" name="Gruppieren 15">
            <a:extLst>
              <a:ext uri="{FF2B5EF4-FFF2-40B4-BE49-F238E27FC236}">
                <a16:creationId xmlns:a16="http://schemas.microsoft.com/office/drawing/2014/main" id="{64616B2C-7356-4DC8-8623-281204BCD952}"/>
              </a:ext>
            </a:extLst>
          </p:cNvPr>
          <p:cNvGrpSpPr/>
          <p:nvPr/>
        </p:nvGrpSpPr>
        <p:grpSpPr bwMode="gray">
          <a:xfrm>
            <a:off x="6240016" y="2565056"/>
            <a:ext cx="0" cy="1584024"/>
            <a:chOff x="6240016" y="2565056"/>
            <a:chExt cx="0" cy="1584024"/>
          </a:xfrm>
        </p:grpSpPr>
        <p:cxnSp>
          <p:nvCxnSpPr>
            <p:cNvPr id="134" name="Straight Connector 30">
              <a:extLst>
                <a:ext uri="{FF2B5EF4-FFF2-40B4-BE49-F238E27FC236}">
                  <a16:creationId xmlns:a16="http://schemas.microsoft.com/office/drawing/2014/main" id="{2DE5ED60-D739-4E02-8B69-9A69F1EC52D6}"/>
                </a:ext>
                <a:ext uri="{C183D7F6-B498-43B3-948B-1728B52AA6E4}">
                  <adec:decorative xmlns:adec="http://schemas.microsoft.com/office/drawing/2017/decorative" val="1"/>
                </a:ext>
              </a:extLst>
            </p:cNvPr>
            <p:cNvCxnSpPr>
              <a:cxnSpLocks/>
            </p:cNvCxnSpPr>
            <p:nvPr/>
          </p:nvCxnSpPr>
          <p:spPr bwMode="gray">
            <a:xfrm flipV="1">
              <a:off x="6240016" y="2565056"/>
              <a:ext cx="0" cy="79200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35" name="Straight Connector 30">
              <a:extLst>
                <a:ext uri="{FF2B5EF4-FFF2-40B4-BE49-F238E27FC236}">
                  <a16:creationId xmlns:a16="http://schemas.microsoft.com/office/drawing/2014/main" id="{139795C3-D55C-4EDB-915A-3D7C9865777B}"/>
                </a:ext>
                <a:ext uri="{C183D7F6-B498-43B3-948B-1728B52AA6E4}">
                  <adec:decorative xmlns:adec="http://schemas.microsoft.com/office/drawing/2017/decorative" val="1"/>
                </a:ext>
              </a:extLst>
            </p:cNvPr>
            <p:cNvCxnSpPr>
              <a:cxnSpLocks/>
            </p:cNvCxnSpPr>
            <p:nvPr/>
          </p:nvCxnSpPr>
          <p:spPr bwMode="gray">
            <a:xfrm flipV="1">
              <a:off x="6240016" y="3357080"/>
              <a:ext cx="0" cy="792000"/>
            </a:xfrm>
            <a:prstGeom prst="line">
              <a:avLst/>
            </a:prstGeom>
            <a:ln w="9525">
              <a:solidFill>
                <a:schemeClr val="tx2">
                  <a:alpha val="50000"/>
                </a:schemeClr>
              </a:solidFill>
            </a:ln>
          </p:spPr>
          <p:style>
            <a:lnRef idx="1">
              <a:schemeClr val="accent1"/>
            </a:lnRef>
            <a:fillRef idx="0">
              <a:schemeClr val="accent1"/>
            </a:fillRef>
            <a:effectRef idx="0">
              <a:schemeClr val="accent1"/>
            </a:effectRef>
            <a:fontRef idx="minor">
              <a:schemeClr val="tx1"/>
            </a:fontRef>
          </p:style>
        </p:cxnSp>
      </p:grpSp>
      <p:sp>
        <p:nvSpPr>
          <p:cNvPr id="136" name="Inhaltsplatzhalter 2">
            <a:extLst>
              <a:ext uri="{FF2B5EF4-FFF2-40B4-BE49-F238E27FC236}">
                <a16:creationId xmlns:a16="http://schemas.microsoft.com/office/drawing/2014/main" id="{F2369081-30C5-423D-AF56-8A54DCB1B2E4}"/>
              </a:ext>
            </a:extLst>
          </p:cNvPr>
          <p:cNvSpPr txBox="1">
            <a:spLocks/>
          </p:cNvSpPr>
          <p:nvPr/>
        </p:nvSpPr>
        <p:spPr bwMode="gray">
          <a:xfrm>
            <a:off x="9048799" y="2565056"/>
            <a:ext cx="1584326" cy="792000"/>
          </a:xfrm>
          <a:prstGeom prst="rect">
            <a:avLst/>
          </a:prstGeom>
        </p:spPr>
        <p:txBody>
          <a:bodyPr lIns="144000" tIns="0" rIns="0" bIns="0" anchor="ctr" anchorCtr="0"/>
          <a:lstStyle>
            <a:lvl1pPr marL="0" indent="0" algn="l" defTabSz="914400" rtl="0" eaLnBrk="1" latinLnBrk="0" hangingPunct="1">
              <a:lnSpc>
                <a:spcPct val="100000"/>
              </a:lnSpc>
              <a:spcBef>
                <a:spcPts val="0"/>
              </a:spcBef>
              <a:spcAft>
                <a:spcPts val="0"/>
              </a:spcAft>
              <a:buFont typeface="Symbol" panose="05050102010706020507" pitchFamily="18" charset="2"/>
              <a:buNone/>
              <a:defRPr sz="4000" b="0" kern="1200">
                <a:solidFill>
                  <a:schemeClr val="tx1"/>
                </a:solidFill>
                <a:latin typeface="+mj-lt"/>
                <a:ea typeface="+mn-ea"/>
                <a:cs typeface="+mn-cs"/>
              </a:defRPr>
            </a:lvl1pPr>
            <a:lvl2pPr marL="0" indent="0" algn="l" defTabSz="914400" rtl="0" eaLnBrk="1" latinLnBrk="0" hangingPunct="1">
              <a:lnSpc>
                <a:spcPct val="100000"/>
              </a:lnSpc>
              <a:spcBef>
                <a:spcPts val="0"/>
              </a:spcBef>
              <a:spcAft>
                <a:spcPts val="0"/>
              </a:spcAft>
              <a:buFont typeface="Arial" panose="020B0604020202020204" pitchFamily="34" charset="0"/>
              <a:buNone/>
              <a:defRPr sz="4000" kern="1200">
                <a:solidFill>
                  <a:schemeClr val="tx1"/>
                </a:solidFill>
                <a:latin typeface="+mj-lt"/>
                <a:ea typeface="+mn-ea"/>
                <a:cs typeface="+mn-cs"/>
              </a:defRPr>
            </a:lvl2pPr>
            <a:lvl3pPr marL="0" indent="0" algn="l" defTabSz="914400" rtl="0" eaLnBrk="1" latinLnBrk="0" hangingPunct="1">
              <a:lnSpc>
                <a:spcPct val="100000"/>
              </a:lnSpc>
              <a:spcBef>
                <a:spcPts val="0"/>
              </a:spcBef>
              <a:spcAft>
                <a:spcPts val="0"/>
              </a:spcAft>
              <a:buFont typeface="Arial" panose="020B0604020202020204" pitchFamily="34" charset="0"/>
              <a:buNone/>
              <a:defRPr sz="4000" kern="1200">
                <a:solidFill>
                  <a:schemeClr val="tx1"/>
                </a:solidFill>
                <a:latin typeface="+mj-lt"/>
                <a:ea typeface="+mn-ea"/>
                <a:cs typeface="+mn-cs"/>
              </a:defRPr>
            </a:lvl3pPr>
            <a:lvl4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4pPr>
            <a:lvl5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5pPr>
            <a:lvl6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6pPr>
            <a:lvl7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7pPr>
            <a:lvl8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8pPr>
            <a:lvl9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9pPr>
          </a:lstStyle>
          <a:p>
            <a:r>
              <a:rPr lang="en-US" sz="6000" spc="20" dirty="0">
                <a:latin typeface="AA Zuehlke Medium" panose="02000603060000020004" pitchFamily="2" charset="0"/>
              </a:rPr>
              <a:t>06</a:t>
            </a:r>
          </a:p>
        </p:txBody>
      </p:sp>
      <p:grpSp>
        <p:nvGrpSpPr>
          <p:cNvPr id="15" name="Gruppieren 14">
            <a:extLst>
              <a:ext uri="{FF2B5EF4-FFF2-40B4-BE49-F238E27FC236}">
                <a16:creationId xmlns:a16="http://schemas.microsoft.com/office/drawing/2014/main" id="{8890EB66-48FE-46F4-8D09-23869FAD055B}"/>
              </a:ext>
            </a:extLst>
          </p:cNvPr>
          <p:cNvGrpSpPr/>
          <p:nvPr/>
        </p:nvGrpSpPr>
        <p:grpSpPr bwMode="gray">
          <a:xfrm>
            <a:off x="9048328" y="2565056"/>
            <a:ext cx="0" cy="1584024"/>
            <a:chOff x="9048328" y="2565056"/>
            <a:chExt cx="0" cy="1584024"/>
          </a:xfrm>
        </p:grpSpPr>
        <p:cxnSp>
          <p:nvCxnSpPr>
            <p:cNvPr id="138" name="Straight Connector 30">
              <a:extLst>
                <a:ext uri="{FF2B5EF4-FFF2-40B4-BE49-F238E27FC236}">
                  <a16:creationId xmlns:a16="http://schemas.microsoft.com/office/drawing/2014/main" id="{6691029A-14AF-49AE-BC75-BB9A2B9B23C0}"/>
                </a:ext>
                <a:ext uri="{C183D7F6-B498-43B3-948B-1728B52AA6E4}">
                  <adec:decorative xmlns:adec="http://schemas.microsoft.com/office/drawing/2017/decorative" val="1"/>
                </a:ext>
              </a:extLst>
            </p:cNvPr>
            <p:cNvCxnSpPr>
              <a:cxnSpLocks/>
            </p:cNvCxnSpPr>
            <p:nvPr/>
          </p:nvCxnSpPr>
          <p:spPr bwMode="gray">
            <a:xfrm flipV="1">
              <a:off x="9048328" y="2565056"/>
              <a:ext cx="0" cy="79200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39" name="Straight Connector 30">
              <a:extLst>
                <a:ext uri="{FF2B5EF4-FFF2-40B4-BE49-F238E27FC236}">
                  <a16:creationId xmlns:a16="http://schemas.microsoft.com/office/drawing/2014/main" id="{6B723777-216F-4E0E-801C-5B8A8B04FF08}"/>
                </a:ext>
                <a:ext uri="{C183D7F6-B498-43B3-948B-1728B52AA6E4}">
                  <adec:decorative xmlns:adec="http://schemas.microsoft.com/office/drawing/2017/decorative" val="1"/>
                </a:ext>
              </a:extLst>
            </p:cNvPr>
            <p:cNvCxnSpPr>
              <a:cxnSpLocks/>
            </p:cNvCxnSpPr>
            <p:nvPr/>
          </p:nvCxnSpPr>
          <p:spPr bwMode="gray">
            <a:xfrm flipV="1">
              <a:off x="9048328" y="3357080"/>
              <a:ext cx="0" cy="792000"/>
            </a:xfrm>
            <a:prstGeom prst="line">
              <a:avLst/>
            </a:prstGeom>
            <a:ln w="9525">
              <a:solidFill>
                <a:schemeClr val="tx2">
                  <a:alpha val="50000"/>
                </a:schemeClr>
              </a:solidFill>
            </a:ln>
          </p:spPr>
          <p:style>
            <a:lnRef idx="1">
              <a:schemeClr val="accent1"/>
            </a:lnRef>
            <a:fillRef idx="0">
              <a:schemeClr val="accent1"/>
            </a:fillRef>
            <a:effectRef idx="0">
              <a:schemeClr val="accent1"/>
            </a:effectRef>
            <a:fontRef idx="minor">
              <a:schemeClr val="tx1"/>
            </a:fontRef>
          </p:style>
        </p:cxnSp>
      </p:grpSp>
      <p:sp>
        <p:nvSpPr>
          <p:cNvPr id="140" name="Inhaltsplatzhalter 2">
            <a:extLst>
              <a:ext uri="{FF2B5EF4-FFF2-40B4-BE49-F238E27FC236}">
                <a16:creationId xmlns:a16="http://schemas.microsoft.com/office/drawing/2014/main" id="{8BC8736B-9CB0-4AFE-B65A-2F83FB29CD3C}"/>
              </a:ext>
            </a:extLst>
          </p:cNvPr>
          <p:cNvSpPr txBox="1">
            <a:spLocks/>
          </p:cNvSpPr>
          <p:nvPr/>
        </p:nvSpPr>
        <p:spPr bwMode="gray">
          <a:xfrm>
            <a:off x="3432175" y="4581280"/>
            <a:ext cx="1584326" cy="792000"/>
          </a:xfrm>
          <a:prstGeom prst="rect">
            <a:avLst/>
          </a:prstGeom>
        </p:spPr>
        <p:txBody>
          <a:bodyPr lIns="144000" tIns="0" rIns="0" bIns="0" anchor="ctr" anchorCtr="0"/>
          <a:lstStyle>
            <a:lvl1pPr marL="0" indent="0" algn="l" defTabSz="914400" rtl="0" eaLnBrk="1" latinLnBrk="0" hangingPunct="1">
              <a:lnSpc>
                <a:spcPct val="100000"/>
              </a:lnSpc>
              <a:spcBef>
                <a:spcPts val="0"/>
              </a:spcBef>
              <a:spcAft>
                <a:spcPts val="0"/>
              </a:spcAft>
              <a:buFont typeface="Symbol" panose="05050102010706020507" pitchFamily="18" charset="2"/>
              <a:buNone/>
              <a:defRPr sz="4000" b="0" kern="1200">
                <a:solidFill>
                  <a:schemeClr val="tx1"/>
                </a:solidFill>
                <a:latin typeface="+mj-lt"/>
                <a:ea typeface="+mn-ea"/>
                <a:cs typeface="+mn-cs"/>
              </a:defRPr>
            </a:lvl1pPr>
            <a:lvl2pPr marL="0" indent="0" algn="l" defTabSz="914400" rtl="0" eaLnBrk="1" latinLnBrk="0" hangingPunct="1">
              <a:lnSpc>
                <a:spcPct val="100000"/>
              </a:lnSpc>
              <a:spcBef>
                <a:spcPts val="0"/>
              </a:spcBef>
              <a:spcAft>
                <a:spcPts val="0"/>
              </a:spcAft>
              <a:buFont typeface="Arial" panose="020B0604020202020204" pitchFamily="34" charset="0"/>
              <a:buNone/>
              <a:defRPr sz="4000" kern="1200">
                <a:solidFill>
                  <a:schemeClr val="tx1"/>
                </a:solidFill>
                <a:latin typeface="+mj-lt"/>
                <a:ea typeface="+mn-ea"/>
                <a:cs typeface="+mn-cs"/>
              </a:defRPr>
            </a:lvl2pPr>
            <a:lvl3pPr marL="0" indent="0" algn="l" defTabSz="914400" rtl="0" eaLnBrk="1" latinLnBrk="0" hangingPunct="1">
              <a:lnSpc>
                <a:spcPct val="100000"/>
              </a:lnSpc>
              <a:spcBef>
                <a:spcPts val="0"/>
              </a:spcBef>
              <a:spcAft>
                <a:spcPts val="0"/>
              </a:spcAft>
              <a:buFont typeface="Arial" panose="020B0604020202020204" pitchFamily="34" charset="0"/>
              <a:buNone/>
              <a:defRPr sz="4000" kern="1200">
                <a:solidFill>
                  <a:schemeClr val="tx1"/>
                </a:solidFill>
                <a:latin typeface="+mj-lt"/>
                <a:ea typeface="+mn-ea"/>
                <a:cs typeface="+mn-cs"/>
              </a:defRPr>
            </a:lvl3pPr>
            <a:lvl4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4pPr>
            <a:lvl5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5pPr>
            <a:lvl6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6pPr>
            <a:lvl7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7pPr>
            <a:lvl8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8pPr>
            <a:lvl9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9pPr>
          </a:lstStyle>
          <a:p>
            <a:r>
              <a:rPr lang="en-US" sz="6000" spc="20" dirty="0">
                <a:latin typeface="AA Zuehlke Medium" panose="02000603060000020004" pitchFamily="2" charset="0"/>
              </a:rPr>
              <a:t>07</a:t>
            </a:r>
          </a:p>
        </p:txBody>
      </p:sp>
      <p:grpSp>
        <p:nvGrpSpPr>
          <p:cNvPr id="14" name="Gruppieren 13">
            <a:extLst>
              <a:ext uri="{FF2B5EF4-FFF2-40B4-BE49-F238E27FC236}">
                <a16:creationId xmlns:a16="http://schemas.microsoft.com/office/drawing/2014/main" id="{04D5E3C7-E7C7-4DA3-9408-0988B83C6B0E}"/>
              </a:ext>
            </a:extLst>
          </p:cNvPr>
          <p:cNvGrpSpPr/>
          <p:nvPr/>
        </p:nvGrpSpPr>
        <p:grpSpPr bwMode="gray">
          <a:xfrm>
            <a:off x="3431704" y="4581280"/>
            <a:ext cx="0" cy="1584024"/>
            <a:chOff x="3431704" y="4581280"/>
            <a:chExt cx="0" cy="1584024"/>
          </a:xfrm>
        </p:grpSpPr>
        <p:cxnSp>
          <p:nvCxnSpPr>
            <p:cNvPr id="142" name="Straight Connector 30">
              <a:extLst>
                <a:ext uri="{FF2B5EF4-FFF2-40B4-BE49-F238E27FC236}">
                  <a16:creationId xmlns:a16="http://schemas.microsoft.com/office/drawing/2014/main" id="{7A44F32B-B9C7-4224-8F42-672923C5642C}"/>
                </a:ext>
                <a:ext uri="{C183D7F6-B498-43B3-948B-1728B52AA6E4}">
                  <adec:decorative xmlns:adec="http://schemas.microsoft.com/office/drawing/2017/decorative" val="1"/>
                </a:ext>
              </a:extLst>
            </p:cNvPr>
            <p:cNvCxnSpPr>
              <a:cxnSpLocks/>
            </p:cNvCxnSpPr>
            <p:nvPr/>
          </p:nvCxnSpPr>
          <p:spPr bwMode="gray">
            <a:xfrm flipV="1">
              <a:off x="3431704" y="4581280"/>
              <a:ext cx="0" cy="79200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44" name="Straight Connector 30">
              <a:extLst>
                <a:ext uri="{FF2B5EF4-FFF2-40B4-BE49-F238E27FC236}">
                  <a16:creationId xmlns:a16="http://schemas.microsoft.com/office/drawing/2014/main" id="{BC8FF2BD-5DD7-43BA-BA40-DF2D11900D12}"/>
                </a:ext>
                <a:ext uri="{C183D7F6-B498-43B3-948B-1728B52AA6E4}">
                  <adec:decorative xmlns:adec="http://schemas.microsoft.com/office/drawing/2017/decorative" val="1"/>
                </a:ext>
              </a:extLst>
            </p:cNvPr>
            <p:cNvCxnSpPr>
              <a:cxnSpLocks/>
            </p:cNvCxnSpPr>
            <p:nvPr/>
          </p:nvCxnSpPr>
          <p:spPr bwMode="gray">
            <a:xfrm flipV="1">
              <a:off x="3431704" y="5373304"/>
              <a:ext cx="0" cy="792000"/>
            </a:xfrm>
            <a:prstGeom prst="line">
              <a:avLst/>
            </a:prstGeom>
            <a:ln w="9525">
              <a:solidFill>
                <a:schemeClr val="tx2">
                  <a:alpha val="50000"/>
                </a:schemeClr>
              </a:solidFill>
            </a:ln>
          </p:spPr>
          <p:style>
            <a:lnRef idx="1">
              <a:schemeClr val="accent1"/>
            </a:lnRef>
            <a:fillRef idx="0">
              <a:schemeClr val="accent1"/>
            </a:fillRef>
            <a:effectRef idx="0">
              <a:schemeClr val="accent1"/>
            </a:effectRef>
            <a:fontRef idx="minor">
              <a:schemeClr val="tx1"/>
            </a:fontRef>
          </p:style>
        </p:cxnSp>
      </p:grpSp>
      <p:sp>
        <p:nvSpPr>
          <p:cNvPr id="145" name="Inhaltsplatzhalter 2">
            <a:extLst>
              <a:ext uri="{FF2B5EF4-FFF2-40B4-BE49-F238E27FC236}">
                <a16:creationId xmlns:a16="http://schemas.microsoft.com/office/drawing/2014/main" id="{11DB7EEF-8368-40BD-B1DF-6E0A4C66871F}"/>
              </a:ext>
            </a:extLst>
          </p:cNvPr>
          <p:cNvSpPr txBox="1">
            <a:spLocks/>
          </p:cNvSpPr>
          <p:nvPr/>
        </p:nvSpPr>
        <p:spPr bwMode="gray">
          <a:xfrm>
            <a:off x="6240487" y="4581280"/>
            <a:ext cx="1584326" cy="792000"/>
          </a:xfrm>
          <a:prstGeom prst="rect">
            <a:avLst/>
          </a:prstGeom>
        </p:spPr>
        <p:txBody>
          <a:bodyPr lIns="144000" tIns="0" rIns="0" bIns="0" anchor="ctr" anchorCtr="0"/>
          <a:lstStyle>
            <a:lvl1pPr marL="0" indent="0" algn="l" defTabSz="914400" rtl="0" eaLnBrk="1" latinLnBrk="0" hangingPunct="1">
              <a:lnSpc>
                <a:spcPct val="100000"/>
              </a:lnSpc>
              <a:spcBef>
                <a:spcPts val="0"/>
              </a:spcBef>
              <a:spcAft>
                <a:spcPts val="0"/>
              </a:spcAft>
              <a:buFont typeface="Symbol" panose="05050102010706020507" pitchFamily="18" charset="2"/>
              <a:buNone/>
              <a:defRPr sz="4000" b="0" kern="1200">
                <a:solidFill>
                  <a:schemeClr val="tx1"/>
                </a:solidFill>
                <a:latin typeface="+mj-lt"/>
                <a:ea typeface="+mn-ea"/>
                <a:cs typeface="+mn-cs"/>
              </a:defRPr>
            </a:lvl1pPr>
            <a:lvl2pPr marL="0" indent="0" algn="l" defTabSz="914400" rtl="0" eaLnBrk="1" latinLnBrk="0" hangingPunct="1">
              <a:lnSpc>
                <a:spcPct val="100000"/>
              </a:lnSpc>
              <a:spcBef>
                <a:spcPts val="0"/>
              </a:spcBef>
              <a:spcAft>
                <a:spcPts val="0"/>
              </a:spcAft>
              <a:buFont typeface="Arial" panose="020B0604020202020204" pitchFamily="34" charset="0"/>
              <a:buNone/>
              <a:defRPr sz="4000" kern="1200">
                <a:solidFill>
                  <a:schemeClr val="tx1"/>
                </a:solidFill>
                <a:latin typeface="+mj-lt"/>
                <a:ea typeface="+mn-ea"/>
                <a:cs typeface="+mn-cs"/>
              </a:defRPr>
            </a:lvl2pPr>
            <a:lvl3pPr marL="0" indent="0" algn="l" defTabSz="914400" rtl="0" eaLnBrk="1" latinLnBrk="0" hangingPunct="1">
              <a:lnSpc>
                <a:spcPct val="100000"/>
              </a:lnSpc>
              <a:spcBef>
                <a:spcPts val="0"/>
              </a:spcBef>
              <a:spcAft>
                <a:spcPts val="0"/>
              </a:spcAft>
              <a:buFont typeface="Arial" panose="020B0604020202020204" pitchFamily="34" charset="0"/>
              <a:buNone/>
              <a:defRPr sz="4000" kern="1200">
                <a:solidFill>
                  <a:schemeClr val="tx1"/>
                </a:solidFill>
                <a:latin typeface="+mj-lt"/>
                <a:ea typeface="+mn-ea"/>
                <a:cs typeface="+mn-cs"/>
              </a:defRPr>
            </a:lvl3pPr>
            <a:lvl4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4pPr>
            <a:lvl5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5pPr>
            <a:lvl6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6pPr>
            <a:lvl7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7pPr>
            <a:lvl8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8pPr>
            <a:lvl9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9pPr>
          </a:lstStyle>
          <a:p>
            <a:r>
              <a:rPr lang="en-US" sz="6000" spc="20" dirty="0">
                <a:latin typeface="AA Zuehlke Medium" panose="02000603060000020004" pitchFamily="2" charset="0"/>
              </a:rPr>
              <a:t>08</a:t>
            </a:r>
          </a:p>
        </p:txBody>
      </p:sp>
      <p:grpSp>
        <p:nvGrpSpPr>
          <p:cNvPr id="13" name="Gruppieren 12">
            <a:extLst>
              <a:ext uri="{FF2B5EF4-FFF2-40B4-BE49-F238E27FC236}">
                <a16:creationId xmlns:a16="http://schemas.microsoft.com/office/drawing/2014/main" id="{D37C5ABF-09B9-453B-8FCE-2FF9EB45EBAB}"/>
              </a:ext>
            </a:extLst>
          </p:cNvPr>
          <p:cNvGrpSpPr/>
          <p:nvPr/>
        </p:nvGrpSpPr>
        <p:grpSpPr bwMode="gray">
          <a:xfrm>
            <a:off x="6240016" y="4581280"/>
            <a:ext cx="0" cy="1584024"/>
            <a:chOff x="6240016" y="4581280"/>
            <a:chExt cx="0" cy="1584024"/>
          </a:xfrm>
        </p:grpSpPr>
        <p:cxnSp>
          <p:nvCxnSpPr>
            <p:cNvPr id="147" name="Straight Connector 30">
              <a:extLst>
                <a:ext uri="{FF2B5EF4-FFF2-40B4-BE49-F238E27FC236}">
                  <a16:creationId xmlns:a16="http://schemas.microsoft.com/office/drawing/2014/main" id="{814E1D5B-63E0-4C8A-B4BD-A732DE6F5A55}"/>
                </a:ext>
                <a:ext uri="{C183D7F6-B498-43B3-948B-1728B52AA6E4}">
                  <adec:decorative xmlns:adec="http://schemas.microsoft.com/office/drawing/2017/decorative" val="1"/>
                </a:ext>
              </a:extLst>
            </p:cNvPr>
            <p:cNvCxnSpPr>
              <a:cxnSpLocks/>
            </p:cNvCxnSpPr>
            <p:nvPr/>
          </p:nvCxnSpPr>
          <p:spPr bwMode="gray">
            <a:xfrm flipV="1">
              <a:off x="6240016" y="4581280"/>
              <a:ext cx="0" cy="79200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48" name="Straight Connector 30">
              <a:extLst>
                <a:ext uri="{FF2B5EF4-FFF2-40B4-BE49-F238E27FC236}">
                  <a16:creationId xmlns:a16="http://schemas.microsoft.com/office/drawing/2014/main" id="{2A40D7BA-B6AA-4464-B7C6-4A98F24B4DCD}"/>
                </a:ext>
                <a:ext uri="{C183D7F6-B498-43B3-948B-1728B52AA6E4}">
                  <adec:decorative xmlns:adec="http://schemas.microsoft.com/office/drawing/2017/decorative" val="1"/>
                </a:ext>
              </a:extLst>
            </p:cNvPr>
            <p:cNvCxnSpPr>
              <a:cxnSpLocks/>
            </p:cNvCxnSpPr>
            <p:nvPr/>
          </p:nvCxnSpPr>
          <p:spPr bwMode="gray">
            <a:xfrm flipV="1">
              <a:off x="6240016" y="5373304"/>
              <a:ext cx="0" cy="792000"/>
            </a:xfrm>
            <a:prstGeom prst="line">
              <a:avLst/>
            </a:prstGeom>
            <a:ln w="9525">
              <a:solidFill>
                <a:schemeClr val="tx2">
                  <a:alpha val="50000"/>
                </a:schemeClr>
              </a:solidFill>
            </a:ln>
          </p:spPr>
          <p:style>
            <a:lnRef idx="1">
              <a:schemeClr val="accent1"/>
            </a:lnRef>
            <a:fillRef idx="0">
              <a:schemeClr val="accent1"/>
            </a:fillRef>
            <a:effectRef idx="0">
              <a:schemeClr val="accent1"/>
            </a:effectRef>
            <a:fontRef idx="minor">
              <a:schemeClr val="tx1"/>
            </a:fontRef>
          </p:style>
        </p:cxnSp>
      </p:grpSp>
      <p:sp>
        <p:nvSpPr>
          <p:cNvPr id="149" name="Inhaltsplatzhalter 2">
            <a:extLst>
              <a:ext uri="{FF2B5EF4-FFF2-40B4-BE49-F238E27FC236}">
                <a16:creationId xmlns:a16="http://schemas.microsoft.com/office/drawing/2014/main" id="{6FCF804B-8442-4B52-880C-5F79C8F1032F}"/>
              </a:ext>
            </a:extLst>
          </p:cNvPr>
          <p:cNvSpPr txBox="1">
            <a:spLocks/>
          </p:cNvSpPr>
          <p:nvPr/>
        </p:nvSpPr>
        <p:spPr bwMode="gray">
          <a:xfrm>
            <a:off x="9048799" y="4581280"/>
            <a:ext cx="1584326" cy="792000"/>
          </a:xfrm>
          <a:prstGeom prst="rect">
            <a:avLst/>
          </a:prstGeom>
        </p:spPr>
        <p:txBody>
          <a:bodyPr lIns="144000" tIns="0" rIns="0" bIns="0" anchor="ctr" anchorCtr="0"/>
          <a:lstStyle>
            <a:lvl1pPr marL="0" indent="0" algn="l" defTabSz="914400" rtl="0" eaLnBrk="1" latinLnBrk="0" hangingPunct="1">
              <a:lnSpc>
                <a:spcPct val="100000"/>
              </a:lnSpc>
              <a:spcBef>
                <a:spcPts val="0"/>
              </a:spcBef>
              <a:spcAft>
                <a:spcPts val="0"/>
              </a:spcAft>
              <a:buFont typeface="Symbol" panose="05050102010706020507" pitchFamily="18" charset="2"/>
              <a:buNone/>
              <a:defRPr sz="4000" b="0" kern="1200">
                <a:solidFill>
                  <a:schemeClr val="tx1"/>
                </a:solidFill>
                <a:latin typeface="+mj-lt"/>
                <a:ea typeface="+mn-ea"/>
                <a:cs typeface="+mn-cs"/>
              </a:defRPr>
            </a:lvl1pPr>
            <a:lvl2pPr marL="0" indent="0" algn="l" defTabSz="914400" rtl="0" eaLnBrk="1" latinLnBrk="0" hangingPunct="1">
              <a:lnSpc>
                <a:spcPct val="100000"/>
              </a:lnSpc>
              <a:spcBef>
                <a:spcPts val="0"/>
              </a:spcBef>
              <a:spcAft>
                <a:spcPts val="0"/>
              </a:spcAft>
              <a:buFont typeface="Arial" panose="020B0604020202020204" pitchFamily="34" charset="0"/>
              <a:buNone/>
              <a:defRPr sz="4000" kern="1200">
                <a:solidFill>
                  <a:schemeClr val="tx1"/>
                </a:solidFill>
                <a:latin typeface="+mj-lt"/>
                <a:ea typeface="+mn-ea"/>
                <a:cs typeface="+mn-cs"/>
              </a:defRPr>
            </a:lvl2pPr>
            <a:lvl3pPr marL="0" indent="0" algn="l" defTabSz="914400" rtl="0" eaLnBrk="1" latinLnBrk="0" hangingPunct="1">
              <a:lnSpc>
                <a:spcPct val="100000"/>
              </a:lnSpc>
              <a:spcBef>
                <a:spcPts val="0"/>
              </a:spcBef>
              <a:spcAft>
                <a:spcPts val="0"/>
              </a:spcAft>
              <a:buFont typeface="Arial" panose="020B0604020202020204" pitchFamily="34" charset="0"/>
              <a:buNone/>
              <a:defRPr sz="4000" kern="1200">
                <a:solidFill>
                  <a:schemeClr val="tx1"/>
                </a:solidFill>
                <a:latin typeface="+mj-lt"/>
                <a:ea typeface="+mn-ea"/>
                <a:cs typeface="+mn-cs"/>
              </a:defRPr>
            </a:lvl3pPr>
            <a:lvl4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4pPr>
            <a:lvl5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5pPr>
            <a:lvl6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6pPr>
            <a:lvl7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7pPr>
            <a:lvl8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8pPr>
            <a:lvl9pPr marL="0" indent="0" algn="l" defTabSz="914400" rtl="0" eaLnBrk="1" latinLnBrk="0" hangingPunct="1">
              <a:lnSpc>
                <a:spcPct val="100000"/>
              </a:lnSpc>
              <a:spcBef>
                <a:spcPts val="0"/>
              </a:spcBef>
              <a:spcAft>
                <a:spcPts val="0"/>
              </a:spcAft>
              <a:buFont typeface="Symbol" panose="05050102010706020507" pitchFamily="18" charset="2"/>
              <a:buNone/>
              <a:defRPr sz="4000" kern="1200">
                <a:solidFill>
                  <a:schemeClr val="tx1"/>
                </a:solidFill>
                <a:latin typeface="+mj-lt"/>
                <a:ea typeface="+mn-ea"/>
                <a:cs typeface="+mn-cs"/>
              </a:defRPr>
            </a:lvl9pPr>
          </a:lstStyle>
          <a:p>
            <a:r>
              <a:rPr lang="en-US" sz="6000" spc="20" dirty="0">
                <a:latin typeface="AA Zuehlke Medium" panose="02000603060000020004" pitchFamily="2" charset="0"/>
              </a:rPr>
              <a:t>09</a:t>
            </a:r>
          </a:p>
        </p:txBody>
      </p:sp>
      <p:grpSp>
        <p:nvGrpSpPr>
          <p:cNvPr id="12" name="Gruppieren 11">
            <a:extLst>
              <a:ext uri="{FF2B5EF4-FFF2-40B4-BE49-F238E27FC236}">
                <a16:creationId xmlns:a16="http://schemas.microsoft.com/office/drawing/2014/main" id="{B41137AC-024D-41EF-8838-5B67EE4E127B}"/>
              </a:ext>
            </a:extLst>
          </p:cNvPr>
          <p:cNvGrpSpPr/>
          <p:nvPr/>
        </p:nvGrpSpPr>
        <p:grpSpPr bwMode="gray">
          <a:xfrm>
            <a:off x="9048328" y="4581280"/>
            <a:ext cx="0" cy="1584024"/>
            <a:chOff x="9048328" y="4581280"/>
            <a:chExt cx="0" cy="1584024"/>
          </a:xfrm>
        </p:grpSpPr>
        <p:cxnSp>
          <p:nvCxnSpPr>
            <p:cNvPr id="151" name="Straight Connector 30">
              <a:extLst>
                <a:ext uri="{FF2B5EF4-FFF2-40B4-BE49-F238E27FC236}">
                  <a16:creationId xmlns:a16="http://schemas.microsoft.com/office/drawing/2014/main" id="{A2860B0E-3467-4227-80BB-EC6ED2A0E0D0}"/>
                </a:ext>
                <a:ext uri="{C183D7F6-B498-43B3-948B-1728B52AA6E4}">
                  <adec:decorative xmlns:adec="http://schemas.microsoft.com/office/drawing/2017/decorative" val="1"/>
                </a:ext>
              </a:extLst>
            </p:cNvPr>
            <p:cNvCxnSpPr>
              <a:cxnSpLocks/>
            </p:cNvCxnSpPr>
            <p:nvPr/>
          </p:nvCxnSpPr>
          <p:spPr bwMode="gray">
            <a:xfrm flipV="1">
              <a:off x="9048328" y="4581280"/>
              <a:ext cx="0" cy="79200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52" name="Straight Connector 30">
              <a:extLst>
                <a:ext uri="{FF2B5EF4-FFF2-40B4-BE49-F238E27FC236}">
                  <a16:creationId xmlns:a16="http://schemas.microsoft.com/office/drawing/2014/main" id="{FAD5B29B-E961-4222-BEFA-15F89425FD17}"/>
                </a:ext>
                <a:ext uri="{C183D7F6-B498-43B3-948B-1728B52AA6E4}">
                  <adec:decorative xmlns:adec="http://schemas.microsoft.com/office/drawing/2017/decorative" val="1"/>
                </a:ext>
              </a:extLst>
            </p:cNvPr>
            <p:cNvCxnSpPr>
              <a:cxnSpLocks/>
            </p:cNvCxnSpPr>
            <p:nvPr/>
          </p:nvCxnSpPr>
          <p:spPr bwMode="gray">
            <a:xfrm flipV="1">
              <a:off x="9048328" y="5373304"/>
              <a:ext cx="0" cy="792000"/>
            </a:xfrm>
            <a:prstGeom prst="line">
              <a:avLst/>
            </a:prstGeom>
            <a:ln w="9525">
              <a:solidFill>
                <a:schemeClr val="tx2">
                  <a:alpha val="50000"/>
                </a:schemeClr>
              </a:solidFill>
            </a:ln>
          </p:spPr>
          <p:style>
            <a:lnRef idx="1">
              <a:schemeClr val="accent1"/>
            </a:lnRef>
            <a:fillRef idx="0">
              <a:schemeClr val="accent1"/>
            </a:fillRef>
            <a:effectRef idx="0">
              <a:schemeClr val="accent1"/>
            </a:effectRef>
            <a:fontRef idx="minor">
              <a:schemeClr val="tx1"/>
            </a:fontRef>
          </p:style>
        </p:cxnSp>
      </p:grpSp>
      <p:sp>
        <p:nvSpPr>
          <p:cNvPr id="43" name="Standard Text">
            <a:extLst>
              <a:ext uri="{FF2B5EF4-FFF2-40B4-BE49-F238E27FC236}">
                <a16:creationId xmlns:a16="http://schemas.microsoft.com/office/drawing/2014/main" id="{A87E1398-2C19-4CE7-BEBB-421A3F2A6EAD}"/>
              </a:ext>
            </a:extLst>
          </p:cNvPr>
          <p:cNvSpPr txBox="1">
            <a:spLocks/>
          </p:cNvSpPr>
          <p:nvPr/>
        </p:nvSpPr>
        <p:spPr bwMode="gray">
          <a:xfrm>
            <a:off x="3431538" y="1340704"/>
            <a:ext cx="2520000" cy="792000"/>
          </a:xfrm>
          <a:prstGeom prst="rect">
            <a:avLst/>
          </a:prstGeom>
        </p:spPr>
        <p:txBody>
          <a:bodyPr vert="horz" lIns="144000" tIns="0" rIns="0" bIns="0" rtlCol="0">
            <a:noAutofit/>
          </a:bodyPr>
          <a:lstStyle>
            <a:defPPr>
              <a:defRPr lang="de-DE"/>
            </a:defPPr>
            <a:lvl1pPr indent="0">
              <a:lnSpc>
                <a:spcPct val="120000"/>
              </a:lnSpc>
              <a:spcBef>
                <a:spcPts val="200"/>
              </a:spcBef>
              <a:spcAft>
                <a:spcPts val="300"/>
              </a:spcAft>
              <a:buFont typeface="Arial" panose="020B0604020202020204" pitchFamily="34" charset="0"/>
              <a:buNone/>
              <a:defRPr sz="1600" b="0" spc="20" baseline="0"/>
            </a:lvl1pPr>
            <a:lvl2pPr marL="0" indent="0">
              <a:lnSpc>
                <a:spcPct val="120000"/>
              </a:lnSpc>
              <a:spcBef>
                <a:spcPts val="1600"/>
              </a:spcBef>
              <a:spcAft>
                <a:spcPts val="300"/>
              </a:spcAft>
              <a:buFont typeface="Arial" panose="020B0604020202020204" pitchFamily="34" charset="0"/>
              <a:buNone/>
              <a:defRPr sz="1600" spc="20" baseline="0">
                <a:latin typeface="+mj-lt"/>
              </a:defRPr>
            </a:lvl2pPr>
            <a:lvl3pPr marL="216000" indent="-216000">
              <a:lnSpc>
                <a:spcPct val="120000"/>
              </a:lnSpc>
              <a:spcBef>
                <a:spcPts val="200"/>
              </a:spcBef>
              <a:spcAft>
                <a:spcPts val="300"/>
              </a:spcAft>
              <a:buFont typeface="Wingdings 2" panose="05020102010507070707" pitchFamily="18" charset="2"/>
              <a:buChar char=""/>
              <a:defRPr sz="1600" spc="20" baseline="0"/>
            </a:lvl3pPr>
            <a:lvl4pPr marL="432000" indent="-216000">
              <a:lnSpc>
                <a:spcPct val="120000"/>
              </a:lnSpc>
              <a:spcBef>
                <a:spcPts val="200"/>
              </a:spcBef>
              <a:spcAft>
                <a:spcPts val="300"/>
              </a:spcAft>
              <a:buFont typeface="Symbol" panose="05050102010706020507" pitchFamily="18" charset="2"/>
              <a:buChar char="-"/>
              <a:defRPr sz="1600" spc="20" baseline="0"/>
            </a:lvl4pPr>
            <a:lvl5pPr marL="648000" indent="-216000">
              <a:lnSpc>
                <a:spcPct val="120000"/>
              </a:lnSpc>
              <a:spcBef>
                <a:spcPts val="200"/>
              </a:spcBef>
              <a:spcAft>
                <a:spcPts val="300"/>
              </a:spcAft>
              <a:buFont typeface="Symbol" panose="05050102010706020507" pitchFamily="18" charset="2"/>
              <a:buChar char="-"/>
              <a:defRPr sz="1600" spc="20" baseline="0"/>
            </a:lvl5pPr>
            <a:lvl6pPr marL="648000" indent="-216000">
              <a:lnSpc>
                <a:spcPct val="120000"/>
              </a:lnSpc>
              <a:spcBef>
                <a:spcPts val="200"/>
              </a:spcBef>
              <a:spcAft>
                <a:spcPts val="300"/>
              </a:spcAft>
              <a:buFont typeface="Symbol" panose="05050102010706020507" pitchFamily="18" charset="2"/>
              <a:buChar char="-"/>
              <a:defRPr sz="1600" spc="20" baseline="0"/>
            </a:lvl6pPr>
            <a:lvl7pPr marL="648000" indent="-216000">
              <a:lnSpc>
                <a:spcPct val="120000"/>
              </a:lnSpc>
              <a:spcBef>
                <a:spcPts val="200"/>
              </a:spcBef>
              <a:spcAft>
                <a:spcPts val="300"/>
              </a:spcAft>
              <a:buFont typeface="Symbol" panose="05050102010706020507" pitchFamily="18" charset="2"/>
              <a:buChar char="-"/>
              <a:defRPr sz="1600" spc="20" baseline="0"/>
            </a:lvl7pPr>
            <a:lvl8pPr marL="648000" indent="-216000">
              <a:lnSpc>
                <a:spcPct val="120000"/>
              </a:lnSpc>
              <a:spcBef>
                <a:spcPts val="200"/>
              </a:spcBef>
              <a:spcAft>
                <a:spcPts val="300"/>
              </a:spcAft>
              <a:buFont typeface="Symbol" panose="05050102010706020507" pitchFamily="18" charset="2"/>
              <a:buChar char="-"/>
              <a:defRPr sz="1600" spc="20" baseline="0"/>
            </a:lvl8pPr>
            <a:lvl9pPr marL="648000" indent="-216000">
              <a:lnSpc>
                <a:spcPct val="120000"/>
              </a:lnSpc>
              <a:spcBef>
                <a:spcPts val="200"/>
              </a:spcBef>
              <a:spcAft>
                <a:spcPts val="300"/>
              </a:spcAft>
              <a:buFont typeface="Symbol" panose="05050102010706020507" pitchFamily="18" charset="2"/>
              <a:buChar char="-"/>
              <a:defRPr sz="1600" spc="20" baseline="0"/>
            </a:lvl9pPr>
          </a:lstStyle>
          <a:p>
            <a:r>
              <a:rPr lang="en-US" dirty="0"/>
              <a:t>Lorem ipsum</a:t>
            </a:r>
            <a:br>
              <a:rPr lang="en-US" dirty="0"/>
            </a:br>
            <a:r>
              <a:rPr lang="en-US" dirty="0"/>
              <a:t>dolor sit amet</a:t>
            </a:r>
          </a:p>
        </p:txBody>
      </p:sp>
      <p:sp>
        <p:nvSpPr>
          <p:cNvPr id="44" name="Standard Text">
            <a:extLst>
              <a:ext uri="{FF2B5EF4-FFF2-40B4-BE49-F238E27FC236}">
                <a16:creationId xmlns:a16="http://schemas.microsoft.com/office/drawing/2014/main" id="{40DAC391-AE02-4ECC-A242-5A2F4E537C2A}"/>
              </a:ext>
            </a:extLst>
          </p:cNvPr>
          <p:cNvSpPr txBox="1">
            <a:spLocks/>
          </p:cNvSpPr>
          <p:nvPr/>
        </p:nvSpPr>
        <p:spPr bwMode="gray">
          <a:xfrm>
            <a:off x="6240296" y="1340704"/>
            <a:ext cx="2520000" cy="792000"/>
          </a:xfrm>
          <a:prstGeom prst="rect">
            <a:avLst/>
          </a:prstGeom>
        </p:spPr>
        <p:txBody>
          <a:bodyPr vert="horz" lIns="144000" tIns="0" rIns="0" bIns="0" rtlCol="0">
            <a:noAutofit/>
          </a:bodyPr>
          <a:lstStyle>
            <a:defPPr>
              <a:defRPr lang="de-DE"/>
            </a:defPPr>
            <a:lvl1pPr indent="0">
              <a:lnSpc>
                <a:spcPct val="120000"/>
              </a:lnSpc>
              <a:spcBef>
                <a:spcPts val="200"/>
              </a:spcBef>
              <a:spcAft>
                <a:spcPts val="300"/>
              </a:spcAft>
              <a:buFont typeface="Arial" panose="020B0604020202020204" pitchFamily="34" charset="0"/>
              <a:buNone/>
              <a:defRPr sz="1600" b="0" spc="20" baseline="0"/>
            </a:lvl1pPr>
            <a:lvl2pPr marL="0" indent="0">
              <a:lnSpc>
                <a:spcPct val="120000"/>
              </a:lnSpc>
              <a:spcBef>
                <a:spcPts val="1600"/>
              </a:spcBef>
              <a:spcAft>
                <a:spcPts val="300"/>
              </a:spcAft>
              <a:buFont typeface="Arial" panose="020B0604020202020204" pitchFamily="34" charset="0"/>
              <a:buNone/>
              <a:defRPr sz="1600" spc="20" baseline="0">
                <a:latin typeface="+mj-lt"/>
              </a:defRPr>
            </a:lvl2pPr>
            <a:lvl3pPr marL="216000" indent="-216000">
              <a:lnSpc>
                <a:spcPct val="120000"/>
              </a:lnSpc>
              <a:spcBef>
                <a:spcPts val="200"/>
              </a:spcBef>
              <a:spcAft>
                <a:spcPts val="300"/>
              </a:spcAft>
              <a:buFont typeface="Wingdings 2" panose="05020102010507070707" pitchFamily="18" charset="2"/>
              <a:buChar char=""/>
              <a:defRPr sz="1600" spc="20" baseline="0"/>
            </a:lvl3pPr>
            <a:lvl4pPr marL="432000" indent="-216000">
              <a:lnSpc>
                <a:spcPct val="120000"/>
              </a:lnSpc>
              <a:spcBef>
                <a:spcPts val="200"/>
              </a:spcBef>
              <a:spcAft>
                <a:spcPts val="300"/>
              </a:spcAft>
              <a:buFont typeface="Symbol" panose="05050102010706020507" pitchFamily="18" charset="2"/>
              <a:buChar char="-"/>
              <a:defRPr sz="1600" spc="20" baseline="0"/>
            </a:lvl4pPr>
            <a:lvl5pPr marL="648000" indent="-216000">
              <a:lnSpc>
                <a:spcPct val="120000"/>
              </a:lnSpc>
              <a:spcBef>
                <a:spcPts val="200"/>
              </a:spcBef>
              <a:spcAft>
                <a:spcPts val="300"/>
              </a:spcAft>
              <a:buFont typeface="Symbol" panose="05050102010706020507" pitchFamily="18" charset="2"/>
              <a:buChar char="-"/>
              <a:defRPr sz="1600" spc="20" baseline="0"/>
            </a:lvl5pPr>
            <a:lvl6pPr marL="648000" indent="-216000">
              <a:lnSpc>
                <a:spcPct val="120000"/>
              </a:lnSpc>
              <a:spcBef>
                <a:spcPts val="200"/>
              </a:spcBef>
              <a:spcAft>
                <a:spcPts val="300"/>
              </a:spcAft>
              <a:buFont typeface="Symbol" panose="05050102010706020507" pitchFamily="18" charset="2"/>
              <a:buChar char="-"/>
              <a:defRPr sz="1600" spc="20" baseline="0"/>
            </a:lvl6pPr>
            <a:lvl7pPr marL="648000" indent="-216000">
              <a:lnSpc>
                <a:spcPct val="120000"/>
              </a:lnSpc>
              <a:spcBef>
                <a:spcPts val="200"/>
              </a:spcBef>
              <a:spcAft>
                <a:spcPts val="300"/>
              </a:spcAft>
              <a:buFont typeface="Symbol" panose="05050102010706020507" pitchFamily="18" charset="2"/>
              <a:buChar char="-"/>
              <a:defRPr sz="1600" spc="20" baseline="0"/>
            </a:lvl7pPr>
            <a:lvl8pPr marL="648000" indent="-216000">
              <a:lnSpc>
                <a:spcPct val="120000"/>
              </a:lnSpc>
              <a:spcBef>
                <a:spcPts val="200"/>
              </a:spcBef>
              <a:spcAft>
                <a:spcPts val="300"/>
              </a:spcAft>
              <a:buFont typeface="Symbol" panose="05050102010706020507" pitchFamily="18" charset="2"/>
              <a:buChar char="-"/>
              <a:defRPr sz="1600" spc="20" baseline="0"/>
            </a:lvl8pPr>
            <a:lvl9pPr marL="648000" indent="-216000">
              <a:lnSpc>
                <a:spcPct val="120000"/>
              </a:lnSpc>
              <a:spcBef>
                <a:spcPts val="200"/>
              </a:spcBef>
              <a:spcAft>
                <a:spcPts val="300"/>
              </a:spcAft>
              <a:buFont typeface="Symbol" panose="05050102010706020507" pitchFamily="18" charset="2"/>
              <a:buChar char="-"/>
              <a:defRPr sz="1600" spc="20" baseline="0"/>
            </a:lvl9pPr>
          </a:lstStyle>
          <a:p>
            <a:r>
              <a:rPr lang="en-US" dirty="0"/>
              <a:t>Lorem ipsum</a:t>
            </a:r>
            <a:br>
              <a:rPr lang="en-US" dirty="0"/>
            </a:br>
            <a:r>
              <a:rPr lang="en-US" dirty="0"/>
              <a:t>dolor sit amet</a:t>
            </a:r>
          </a:p>
        </p:txBody>
      </p:sp>
      <p:sp>
        <p:nvSpPr>
          <p:cNvPr id="45" name="Standard Text">
            <a:extLst>
              <a:ext uri="{FF2B5EF4-FFF2-40B4-BE49-F238E27FC236}">
                <a16:creationId xmlns:a16="http://schemas.microsoft.com/office/drawing/2014/main" id="{C70C19AA-9504-41AF-858B-026895180261}"/>
              </a:ext>
            </a:extLst>
          </p:cNvPr>
          <p:cNvSpPr txBox="1">
            <a:spLocks/>
          </p:cNvSpPr>
          <p:nvPr/>
        </p:nvSpPr>
        <p:spPr bwMode="gray">
          <a:xfrm>
            <a:off x="9048608" y="1340704"/>
            <a:ext cx="2520000" cy="792000"/>
          </a:xfrm>
          <a:prstGeom prst="rect">
            <a:avLst/>
          </a:prstGeom>
        </p:spPr>
        <p:txBody>
          <a:bodyPr vert="horz" lIns="144000" tIns="0" rIns="0" bIns="0" rtlCol="0">
            <a:noAutofit/>
          </a:bodyPr>
          <a:lstStyle>
            <a:defPPr>
              <a:defRPr lang="de-DE"/>
            </a:defPPr>
            <a:lvl1pPr indent="0">
              <a:lnSpc>
                <a:spcPct val="120000"/>
              </a:lnSpc>
              <a:spcBef>
                <a:spcPts val="200"/>
              </a:spcBef>
              <a:spcAft>
                <a:spcPts val="300"/>
              </a:spcAft>
              <a:buFont typeface="Arial" panose="020B0604020202020204" pitchFamily="34" charset="0"/>
              <a:buNone/>
              <a:defRPr sz="1600" b="0" spc="20" baseline="0"/>
            </a:lvl1pPr>
            <a:lvl2pPr marL="0" indent="0">
              <a:lnSpc>
                <a:spcPct val="120000"/>
              </a:lnSpc>
              <a:spcBef>
                <a:spcPts val="1600"/>
              </a:spcBef>
              <a:spcAft>
                <a:spcPts val="300"/>
              </a:spcAft>
              <a:buFont typeface="Arial" panose="020B0604020202020204" pitchFamily="34" charset="0"/>
              <a:buNone/>
              <a:defRPr sz="1600" spc="20" baseline="0">
                <a:latin typeface="+mj-lt"/>
              </a:defRPr>
            </a:lvl2pPr>
            <a:lvl3pPr marL="216000" indent="-216000">
              <a:lnSpc>
                <a:spcPct val="120000"/>
              </a:lnSpc>
              <a:spcBef>
                <a:spcPts val="200"/>
              </a:spcBef>
              <a:spcAft>
                <a:spcPts val="300"/>
              </a:spcAft>
              <a:buFont typeface="Wingdings 2" panose="05020102010507070707" pitchFamily="18" charset="2"/>
              <a:buChar char=""/>
              <a:defRPr sz="1600" spc="20" baseline="0"/>
            </a:lvl3pPr>
            <a:lvl4pPr marL="432000" indent="-216000">
              <a:lnSpc>
                <a:spcPct val="120000"/>
              </a:lnSpc>
              <a:spcBef>
                <a:spcPts val="200"/>
              </a:spcBef>
              <a:spcAft>
                <a:spcPts val="300"/>
              </a:spcAft>
              <a:buFont typeface="Symbol" panose="05050102010706020507" pitchFamily="18" charset="2"/>
              <a:buChar char="-"/>
              <a:defRPr sz="1600" spc="20" baseline="0"/>
            </a:lvl4pPr>
            <a:lvl5pPr marL="648000" indent="-216000">
              <a:lnSpc>
                <a:spcPct val="120000"/>
              </a:lnSpc>
              <a:spcBef>
                <a:spcPts val="200"/>
              </a:spcBef>
              <a:spcAft>
                <a:spcPts val="300"/>
              </a:spcAft>
              <a:buFont typeface="Symbol" panose="05050102010706020507" pitchFamily="18" charset="2"/>
              <a:buChar char="-"/>
              <a:defRPr sz="1600" spc="20" baseline="0"/>
            </a:lvl5pPr>
            <a:lvl6pPr marL="648000" indent="-216000">
              <a:lnSpc>
                <a:spcPct val="120000"/>
              </a:lnSpc>
              <a:spcBef>
                <a:spcPts val="200"/>
              </a:spcBef>
              <a:spcAft>
                <a:spcPts val="300"/>
              </a:spcAft>
              <a:buFont typeface="Symbol" panose="05050102010706020507" pitchFamily="18" charset="2"/>
              <a:buChar char="-"/>
              <a:defRPr sz="1600" spc="20" baseline="0"/>
            </a:lvl6pPr>
            <a:lvl7pPr marL="648000" indent="-216000">
              <a:lnSpc>
                <a:spcPct val="120000"/>
              </a:lnSpc>
              <a:spcBef>
                <a:spcPts val="200"/>
              </a:spcBef>
              <a:spcAft>
                <a:spcPts val="300"/>
              </a:spcAft>
              <a:buFont typeface="Symbol" panose="05050102010706020507" pitchFamily="18" charset="2"/>
              <a:buChar char="-"/>
              <a:defRPr sz="1600" spc="20" baseline="0"/>
            </a:lvl7pPr>
            <a:lvl8pPr marL="648000" indent="-216000">
              <a:lnSpc>
                <a:spcPct val="120000"/>
              </a:lnSpc>
              <a:spcBef>
                <a:spcPts val="200"/>
              </a:spcBef>
              <a:spcAft>
                <a:spcPts val="300"/>
              </a:spcAft>
              <a:buFont typeface="Symbol" panose="05050102010706020507" pitchFamily="18" charset="2"/>
              <a:buChar char="-"/>
              <a:defRPr sz="1600" spc="20" baseline="0"/>
            </a:lvl8pPr>
            <a:lvl9pPr marL="648000" indent="-216000">
              <a:lnSpc>
                <a:spcPct val="120000"/>
              </a:lnSpc>
              <a:spcBef>
                <a:spcPts val="200"/>
              </a:spcBef>
              <a:spcAft>
                <a:spcPts val="300"/>
              </a:spcAft>
              <a:buFont typeface="Symbol" panose="05050102010706020507" pitchFamily="18" charset="2"/>
              <a:buChar char="-"/>
              <a:defRPr sz="1600" spc="20" baseline="0"/>
            </a:lvl9pPr>
          </a:lstStyle>
          <a:p>
            <a:r>
              <a:rPr lang="en-US" dirty="0"/>
              <a:t>Lorem ipsum</a:t>
            </a:r>
            <a:br>
              <a:rPr lang="en-US" dirty="0"/>
            </a:br>
            <a:r>
              <a:rPr lang="en-US" dirty="0"/>
              <a:t>dolor sit amet</a:t>
            </a:r>
          </a:p>
        </p:txBody>
      </p:sp>
      <p:sp>
        <p:nvSpPr>
          <p:cNvPr id="46" name="Standard Text">
            <a:extLst>
              <a:ext uri="{FF2B5EF4-FFF2-40B4-BE49-F238E27FC236}">
                <a16:creationId xmlns:a16="http://schemas.microsoft.com/office/drawing/2014/main" id="{E06FE650-7596-4836-93E9-9654B566CAF8}"/>
              </a:ext>
            </a:extLst>
          </p:cNvPr>
          <p:cNvSpPr txBox="1">
            <a:spLocks/>
          </p:cNvSpPr>
          <p:nvPr/>
        </p:nvSpPr>
        <p:spPr bwMode="gray">
          <a:xfrm>
            <a:off x="3431538" y="3357080"/>
            <a:ext cx="2520000" cy="792000"/>
          </a:xfrm>
          <a:prstGeom prst="rect">
            <a:avLst/>
          </a:prstGeom>
        </p:spPr>
        <p:txBody>
          <a:bodyPr vert="horz" lIns="144000" tIns="0" rIns="0" bIns="0" rtlCol="0">
            <a:noAutofit/>
          </a:bodyPr>
          <a:lstStyle>
            <a:defPPr>
              <a:defRPr lang="de-DE"/>
            </a:defPPr>
            <a:lvl1pPr indent="0">
              <a:lnSpc>
                <a:spcPct val="120000"/>
              </a:lnSpc>
              <a:spcBef>
                <a:spcPts val="200"/>
              </a:spcBef>
              <a:spcAft>
                <a:spcPts val="300"/>
              </a:spcAft>
              <a:buFont typeface="Arial" panose="020B0604020202020204" pitchFamily="34" charset="0"/>
              <a:buNone/>
              <a:defRPr sz="1600" b="0" spc="20" baseline="0"/>
            </a:lvl1pPr>
            <a:lvl2pPr marL="0" indent="0">
              <a:lnSpc>
                <a:spcPct val="120000"/>
              </a:lnSpc>
              <a:spcBef>
                <a:spcPts val="1600"/>
              </a:spcBef>
              <a:spcAft>
                <a:spcPts val="300"/>
              </a:spcAft>
              <a:buFont typeface="Arial" panose="020B0604020202020204" pitchFamily="34" charset="0"/>
              <a:buNone/>
              <a:defRPr sz="1600" spc="20" baseline="0">
                <a:latin typeface="+mj-lt"/>
              </a:defRPr>
            </a:lvl2pPr>
            <a:lvl3pPr marL="216000" indent="-216000">
              <a:lnSpc>
                <a:spcPct val="120000"/>
              </a:lnSpc>
              <a:spcBef>
                <a:spcPts val="200"/>
              </a:spcBef>
              <a:spcAft>
                <a:spcPts val="300"/>
              </a:spcAft>
              <a:buFont typeface="Wingdings 2" panose="05020102010507070707" pitchFamily="18" charset="2"/>
              <a:buChar char=""/>
              <a:defRPr sz="1600" spc="20" baseline="0"/>
            </a:lvl3pPr>
            <a:lvl4pPr marL="432000" indent="-216000">
              <a:lnSpc>
                <a:spcPct val="120000"/>
              </a:lnSpc>
              <a:spcBef>
                <a:spcPts val="200"/>
              </a:spcBef>
              <a:spcAft>
                <a:spcPts val="300"/>
              </a:spcAft>
              <a:buFont typeface="Symbol" panose="05050102010706020507" pitchFamily="18" charset="2"/>
              <a:buChar char="-"/>
              <a:defRPr sz="1600" spc="20" baseline="0"/>
            </a:lvl4pPr>
            <a:lvl5pPr marL="648000" indent="-216000">
              <a:lnSpc>
                <a:spcPct val="120000"/>
              </a:lnSpc>
              <a:spcBef>
                <a:spcPts val="200"/>
              </a:spcBef>
              <a:spcAft>
                <a:spcPts val="300"/>
              </a:spcAft>
              <a:buFont typeface="Symbol" panose="05050102010706020507" pitchFamily="18" charset="2"/>
              <a:buChar char="-"/>
              <a:defRPr sz="1600" spc="20" baseline="0"/>
            </a:lvl5pPr>
            <a:lvl6pPr marL="648000" indent="-216000">
              <a:lnSpc>
                <a:spcPct val="120000"/>
              </a:lnSpc>
              <a:spcBef>
                <a:spcPts val="200"/>
              </a:spcBef>
              <a:spcAft>
                <a:spcPts val="300"/>
              </a:spcAft>
              <a:buFont typeface="Symbol" panose="05050102010706020507" pitchFamily="18" charset="2"/>
              <a:buChar char="-"/>
              <a:defRPr sz="1600" spc="20" baseline="0"/>
            </a:lvl6pPr>
            <a:lvl7pPr marL="648000" indent="-216000">
              <a:lnSpc>
                <a:spcPct val="120000"/>
              </a:lnSpc>
              <a:spcBef>
                <a:spcPts val="200"/>
              </a:spcBef>
              <a:spcAft>
                <a:spcPts val="300"/>
              </a:spcAft>
              <a:buFont typeface="Symbol" panose="05050102010706020507" pitchFamily="18" charset="2"/>
              <a:buChar char="-"/>
              <a:defRPr sz="1600" spc="20" baseline="0"/>
            </a:lvl7pPr>
            <a:lvl8pPr marL="648000" indent="-216000">
              <a:lnSpc>
                <a:spcPct val="120000"/>
              </a:lnSpc>
              <a:spcBef>
                <a:spcPts val="200"/>
              </a:spcBef>
              <a:spcAft>
                <a:spcPts val="300"/>
              </a:spcAft>
              <a:buFont typeface="Symbol" panose="05050102010706020507" pitchFamily="18" charset="2"/>
              <a:buChar char="-"/>
              <a:defRPr sz="1600" spc="20" baseline="0"/>
            </a:lvl8pPr>
            <a:lvl9pPr marL="648000" indent="-216000">
              <a:lnSpc>
                <a:spcPct val="120000"/>
              </a:lnSpc>
              <a:spcBef>
                <a:spcPts val="200"/>
              </a:spcBef>
              <a:spcAft>
                <a:spcPts val="300"/>
              </a:spcAft>
              <a:buFont typeface="Symbol" panose="05050102010706020507" pitchFamily="18" charset="2"/>
              <a:buChar char="-"/>
              <a:defRPr sz="1600" spc="20" baseline="0"/>
            </a:lvl9pPr>
          </a:lstStyle>
          <a:p>
            <a:r>
              <a:rPr lang="en-US" dirty="0"/>
              <a:t>Lorem ipsum</a:t>
            </a:r>
            <a:br>
              <a:rPr lang="en-US" dirty="0"/>
            </a:br>
            <a:r>
              <a:rPr lang="en-US" dirty="0"/>
              <a:t>dolor sit amet</a:t>
            </a:r>
          </a:p>
        </p:txBody>
      </p:sp>
      <p:sp>
        <p:nvSpPr>
          <p:cNvPr id="47" name="Standard Text">
            <a:extLst>
              <a:ext uri="{FF2B5EF4-FFF2-40B4-BE49-F238E27FC236}">
                <a16:creationId xmlns:a16="http://schemas.microsoft.com/office/drawing/2014/main" id="{32ACC5D2-4FDD-4D2B-A610-3D54490CBEEB}"/>
              </a:ext>
            </a:extLst>
          </p:cNvPr>
          <p:cNvSpPr txBox="1">
            <a:spLocks/>
          </p:cNvSpPr>
          <p:nvPr/>
        </p:nvSpPr>
        <p:spPr bwMode="gray">
          <a:xfrm>
            <a:off x="6240296" y="3357080"/>
            <a:ext cx="2520000" cy="792000"/>
          </a:xfrm>
          <a:prstGeom prst="rect">
            <a:avLst/>
          </a:prstGeom>
        </p:spPr>
        <p:txBody>
          <a:bodyPr vert="horz" lIns="144000" tIns="0" rIns="0" bIns="0" rtlCol="0">
            <a:noAutofit/>
          </a:bodyPr>
          <a:lstStyle>
            <a:defPPr>
              <a:defRPr lang="de-DE"/>
            </a:defPPr>
            <a:lvl1pPr indent="0">
              <a:lnSpc>
                <a:spcPct val="120000"/>
              </a:lnSpc>
              <a:spcBef>
                <a:spcPts val="200"/>
              </a:spcBef>
              <a:spcAft>
                <a:spcPts val="300"/>
              </a:spcAft>
              <a:buFont typeface="Arial" panose="020B0604020202020204" pitchFamily="34" charset="0"/>
              <a:buNone/>
              <a:defRPr sz="1600" b="0" spc="20" baseline="0"/>
            </a:lvl1pPr>
            <a:lvl2pPr marL="0" indent="0">
              <a:lnSpc>
                <a:spcPct val="120000"/>
              </a:lnSpc>
              <a:spcBef>
                <a:spcPts val="1600"/>
              </a:spcBef>
              <a:spcAft>
                <a:spcPts val="300"/>
              </a:spcAft>
              <a:buFont typeface="Arial" panose="020B0604020202020204" pitchFamily="34" charset="0"/>
              <a:buNone/>
              <a:defRPr sz="1600" spc="20" baseline="0">
                <a:latin typeface="+mj-lt"/>
              </a:defRPr>
            </a:lvl2pPr>
            <a:lvl3pPr marL="216000" indent="-216000">
              <a:lnSpc>
                <a:spcPct val="120000"/>
              </a:lnSpc>
              <a:spcBef>
                <a:spcPts val="200"/>
              </a:spcBef>
              <a:spcAft>
                <a:spcPts val="300"/>
              </a:spcAft>
              <a:buFont typeface="Wingdings 2" panose="05020102010507070707" pitchFamily="18" charset="2"/>
              <a:buChar char=""/>
              <a:defRPr sz="1600" spc="20" baseline="0"/>
            </a:lvl3pPr>
            <a:lvl4pPr marL="432000" indent="-216000">
              <a:lnSpc>
                <a:spcPct val="120000"/>
              </a:lnSpc>
              <a:spcBef>
                <a:spcPts val="200"/>
              </a:spcBef>
              <a:spcAft>
                <a:spcPts val="300"/>
              </a:spcAft>
              <a:buFont typeface="Symbol" panose="05050102010706020507" pitchFamily="18" charset="2"/>
              <a:buChar char="-"/>
              <a:defRPr sz="1600" spc="20" baseline="0"/>
            </a:lvl4pPr>
            <a:lvl5pPr marL="648000" indent="-216000">
              <a:lnSpc>
                <a:spcPct val="120000"/>
              </a:lnSpc>
              <a:spcBef>
                <a:spcPts val="200"/>
              </a:spcBef>
              <a:spcAft>
                <a:spcPts val="300"/>
              </a:spcAft>
              <a:buFont typeface="Symbol" panose="05050102010706020507" pitchFamily="18" charset="2"/>
              <a:buChar char="-"/>
              <a:defRPr sz="1600" spc="20" baseline="0"/>
            </a:lvl5pPr>
            <a:lvl6pPr marL="648000" indent="-216000">
              <a:lnSpc>
                <a:spcPct val="120000"/>
              </a:lnSpc>
              <a:spcBef>
                <a:spcPts val="200"/>
              </a:spcBef>
              <a:spcAft>
                <a:spcPts val="300"/>
              </a:spcAft>
              <a:buFont typeface="Symbol" panose="05050102010706020507" pitchFamily="18" charset="2"/>
              <a:buChar char="-"/>
              <a:defRPr sz="1600" spc="20" baseline="0"/>
            </a:lvl6pPr>
            <a:lvl7pPr marL="648000" indent="-216000">
              <a:lnSpc>
                <a:spcPct val="120000"/>
              </a:lnSpc>
              <a:spcBef>
                <a:spcPts val="200"/>
              </a:spcBef>
              <a:spcAft>
                <a:spcPts val="300"/>
              </a:spcAft>
              <a:buFont typeface="Symbol" panose="05050102010706020507" pitchFamily="18" charset="2"/>
              <a:buChar char="-"/>
              <a:defRPr sz="1600" spc="20" baseline="0"/>
            </a:lvl7pPr>
            <a:lvl8pPr marL="648000" indent="-216000">
              <a:lnSpc>
                <a:spcPct val="120000"/>
              </a:lnSpc>
              <a:spcBef>
                <a:spcPts val="200"/>
              </a:spcBef>
              <a:spcAft>
                <a:spcPts val="300"/>
              </a:spcAft>
              <a:buFont typeface="Symbol" panose="05050102010706020507" pitchFamily="18" charset="2"/>
              <a:buChar char="-"/>
              <a:defRPr sz="1600" spc="20" baseline="0"/>
            </a:lvl8pPr>
            <a:lvl9pPr marL="648000" indent="-216000">
              <a:lnSpc>
                <a:spcPct val="120000"/>
              </a:lnSpc>
              <a:spcBef>
                <a:spcPts val="200"/>
              </a:spcBef>
              <a:spcAft>
                <a:spcPts val="300"/>
              </a:spcAft>
              <a:buFont typeface="Symbol" panose="05050102010706020507" pitchFamily="18" charset="2"/>
              <a:buChar char="-"/>
              <a:defRPr sz="1600" spc="20" baseline="0"/>
            </a:lvl9pPr>
          </a:lstStyle>
          <a:p>
            <a:r>
              <a:rPr lang="en-US" dirty="0"/>
              <a:t>Lorem ipsum</a:t>
            </a:r>
            <a:br>
              <a:rPr lang="en-US" dirty="0"/>
            </a:br>
            <a:r>
              <a:rPr lang="en-US" dirty="0"/>
              <a:t>dolor sit amet</a:t>
            </a:r>
          </a:p>
        </p:txBody>
      </p:sp>
      <p:sp>
        <p:nvSpPr>
          <p:cNvPr id="48" name="Standard Text">
            <a:extLst>
              <a:ext uri="{FF2B5EF4-FFF2-40B4-BE49-F238E27FC236}">
                <a16:creationId xmlns:a16="http://schemas.microsoft.com/office/drawing/2014/main" id="{5F0E0DAD-376C-4B09-B2F0-EE647CDEE3E6}"/>
              </a:ext>
            </a:extLst>
          </p:cNvPr>
          <p:cNvSpPr txBox="1">
            <a:spLocks/>
          </p:cNvSpPr>
          <p:nvPr/>
        </p:nvSpPr>
        <p:spPr bwMode="gray">
          <a:xfrm>
            <a:off x="9048608" y="3357080"/>
            <a:ext cx="2520000" cy="792000"/>
          </a:xfrm>
          <a:prstGeom prst="rect">
            <a:avLst/>
          </a:prstGeom>
        </p:spPr>
        <p:txBody>
          <a:bodyPr vert="horz" lIns="144000" tIns="0" rIns="0" bIns="0" rtlCol="0">
            <a:noAutofit/>
          </a:bodyPr>
          <a:lstStyle>
            <a:defPPr>
              <a:defRPr lang="de-DE"/>
            </a:defPPr>
            <a:lvl1pPr indent="0">
              <a:lnSpc>
                <a:spcPct val="120000"/>
              </a:lnSpc>
              <a:spcBef>
                <a:spcPts val="200"/>
              </a:spcBef>
              <a:spcAft>
                <a:spcPts val="300"/>
              </a:spcAft>
              <a:buFont typeface="Arial" panose="020B0604020202020204" pitchFamily="34" charset="0"/>
              <a:buNone/>
              <a:defRPr sz="1600" b="0" spc="20" baseline="0"/>
            </a:lvl1pPr>
            <a:lvl2pPr marL="0" indent="0">
              <a:lnSpc>
                <a:spcPct val="120000"/>
              </a:lnSpc>
              <a:spcBef>
                <a:spcPts val="1600"/>
              </a:spcBef>
              <a:spcAft>
                <a:spcPts val="300"/>
              </a:spcAft>
              <a:buFont typeface="Arial" panose="020B0604020202020204" pitchFamily="34" charset="0"/>
              <a:buNone/>
              <a:defRPr sz="1600" spc="20" baseline="0">
                <a:latin typeface="+mj-lt"/>
              </a:defRPr>
            </a:lvl2pPr>
            <a:lvl3pPr marL="216000" indent="-216000">
              <a:lnSpc>
                <a:spcPct val="120000"/>
              </a:lnSpc>
              <a:spcBef>
                <a:spcPts val="200"/>
              </a:spcBef>
              <a:spcAft>
                <a:spcPts val="300"/>
              </a:spcAft>
              <a:buFont typeface="Wingdings 2" panose="05020102010507070707" pitchFamily="18" charset="2"/>
              <a:buChar char=""/>
              <a:defRPr sz="1600" spc="20" baseline="0"/>
            </a:lvl3pPr>
            <a:lvl4pPr marL="432000" indent="-216000">
              <a:lnSpc>
                <a:spcPct val="120000"/>
              </a:lnSpc>
              <a:spcBef>
                <a:spcPts val="200"/>
              </a:spcBef>
              <a:spcAft>
                <a:spcPts val="300"/>
              </a:spcAft>
              <a:buFont typeface="Symbol" panose="05050102010706020507" pitchFamily="18" charset="2"/>
              <a:buChar char="-"/>
              <a:defRPr sz="1600" spc="20" baseline="0"/>
            </a:lvl4pPr>
            <a:lvl5pPr marL="648000" indent="-216000">
              <a:lnSpc>
                <a:spcPct val="120000"/>
              </a:lnSpc>
              <a:spcBef>
                <a:spcPts val="200"/>
              </a:spcBef>
              <a:spcAft>
                <a:spcPts val="300"/>
              </a:spcAft>
              <a:buFont typeface="Symbol" panose="05050102010706020507" pitchFamily="18" charset="2"/>
              <a:buChar char="-"/>
              <a:defRPr sz="1600" spc="20" baseline="0"/>
            </a:lvl5pPr>
            <a:lvl6pPr marL="648000" indent="-216000">
              <a:lnSpc>
                <a:spcPct val="120000"/>
              </a:lnSpc>
              <a:spcBef>
                <a:spcPts val="200"/>
              </a:spcBef>
              <a:spcAft>
                <a:spcPts val="300"/>
              </a:spcAft>
              <a:buFont typeface="Symbol" panose="05050102010706020507" pitchFamily="18" charset="2"/>
              <a:buChar char="-"/>
              <a:defRPr sz="1600" spc="20" baseline="0"/>
            </a:lvl6pPr>
            <a:lvl7pPr marL="648000" indent="-216000">
              <a:lnSpc>
                <a:spcPct val="120000"/>
              </a:lnSpc>
              <a:spcBef>
                <a:spcPts val="200"/>
              </a:spcBef>
              <a:spcAft>
                <a:spcPts val="300"/>
              </a:spcAft>
              <a:buFont typeface="Symbol" panose="05050102010706020507" pitchFamily="18" charset="2"/>
              <a:buChar char="-"/>
              <a:defRPr sz="1600" spc="20" baseline="0"/>
            </a:lvl7pPr>
            <a:lvl8pPr marL="648000" indent="-216000">
              <a:lnSpc>
                <a:spcPct val="120000"/>
              </a:lnSpc>
              <a:spcBef>
                <a:spcPts val="200"/>
              </a:spcBef>
              <a:spcAft>
                <a:spcPts val="300"/>
              </a:spcAft>
              <a:buFont typeface="Symbol" panose="05050102010706020507" pitchFamily="18" charset="2"/>
              <a:buChar char="-"/>
              <a:defRPr sz="1600" spc="20" baseline="0"/>
            </a:lvl8pPr>
            <a:lvl9pPr marL="648000" indent="-216000">
              <a:lnSpc>
                <a:spcPct val="120000"/>
              </a:lnSpc>
              <a:spcBef>
                <a:spcPts val="200"/>
              </a:spcBef>
              <a:spcAft>
                <a:spcPts val="300"/>
              </a:spcAft>
              <a:buFont typeface="Symbol" panose="05050102010706020507" pitchFamily="18" charset="2"/>
              <a:buChar char="-"/>
              <a:defRPr sz="1600" spc="20" baseline="0"/>
            </a:lvl9pPr>
          </a:lstStyle>
          <a:p>
            <a:r>
              <a:rPr lang="en-US" dirty="0"/>
              <a:t>Lorem ipsum</a:t>
            </a:r>
            <a:br>
              <a:rPr lang="en-US" dirty="0"/>
            </a:br>
            <a:r>
              <a:rPr lang="en-US" dirty="0"/>
              <a:t>dolor sit amet</a:t>
            </a:r>
          </a:p>
        </p:txBody>
      </p:sp>
      <p:sp>
        <p:nvSpPr>
          <p:cNvPr id="49" name="Standard Text">
            <a:extLst>
              <a:ext uri="{FF2B5EF4-FFF2-40B4-BE49-F238E27FC236}">
                <a16:creationId xmlns:a16="http://schemas.microsoft.com/office/drawing/2014/main" id="{32781298-A26B-4719-896A-C392239BE9FB}"/>
              </a:ext>
            </a:extLst>
          </p:cNvPr>
          <p:cNvSpPr txBox="1">
            <a:spLocks/>
          </p:cNvSpPr>
          <p:nvPr/>
        </p:nvSpPr>
        <p:spPr bwMode="gray">
          <a:xfrm>
            <a:off x="3431538" y="5373304"/>
            <a:ext cx="2520000" cy="792000"/>
          </a:xfrm>
          <a:prstGeom prst="rect">
            <a:avLst/>
          </a:prstGeom>
        </p:spPr>
        <p:txBody>
          <a:bodyPr vert="horz" lIns="144000" tIns="0" rIns="0" bIns="0" rtlCol="0">
            <a:noAutofit/>
          </a:bodyPr>
          <a:lstStyle>
            <a:defPPr>
              <a:defRPr lang="de-DE"/>
            </a:defPPr>
            <a:lvl1pPr indent="0">
              <a:lnSpc>
                <a:spcPct val="120000"/>
              </a:lnSpc>
              <a:spcBef>
                <a:spcPts val="200"/>
              </a:spcBef>
              <a:spcAft>
                <a:spcPts val="300"/>
              </a:spcAft>
              <a:buFont typeface="Arial" panose="020B0604020202020204" pitchFamily="34" charset="0"/>
              <a:buNone/>
              <a:defRPr sz="1600" b="0" spc="20" baseline="0"/>
            </a:lvl1pPr>
            <a:lvl2pPr marL="0" indent="0">
              <a:lnSpc>
                <a:spcPct val="120000"/>
              </a:lnSpc>
              <a:spcBef>
                <a:spcPts val="1600"/>
              </a:spcBef>
              <a:spcAft>
                <a:spcPts val="300"/>
              </a:spcAft>
              <a:buFont typeface="Arial" panose="020B0604020202020204" pitchFamily="34" charset="0"/>
              <a:buNone/>
              <a:defRPr sz="1600" spc="20" baseline="0">
                <a:latin typeface="+mj-lt"/>
              </a:defRPr>
            </a:lvl2pPr>
            <a:lvl3pPr marL="216000" indent="-216000">
              <a:lnSpc>
                <a:spcPct val="120000"/>
              </a:lnSpc>
              <a:spcBef>
                <a:spcPts val="200"/>
              </a:spcBef>
              <a:spcAft>
                <a:spcPts val="300"/>
              </a:spcAft>
              <a:buFont typeface="Wingdings 2" panose="05020102010507070707" pitchFamily="18" charset="2"/>
              <a:buChar char=""/>
              <a:defRPr sz="1600" spc="20" baseline="0"/>
            </a:lvl3pPr>
            <a:lvl4pPr marL="432000" indent="-216000">
              <a:lnSpc>
                <a:spcPct val="120000"/>
              </a:lnSpc>
              <a:spcBef>
                <a:spcPts val="200"/>
              </a:spcBef>
              <a:spcAft>
                <a:spcPts val="300"/>
              </a:spcAft>
              <a:buFont typeface="Symbol" panose="05050102010706020507" pitchFamily="18" charset="2"/>
              <a:buChar char="-"/>
              <a:defRPr sz="1600" spc="20" baseline="0"/>
            </a:lvl4pPr>
            <a:lvl5pPr marL="648000" indent="-216000">
              <a:lnSpc>
                <a:spcPct val="120000"/>
              </a:lnSpc>
              <a:spcBef>
                <a:spcPts val="200"/>
              </a:spcBef>
              <a:spcAft>
                <a:spcPts val="300"/>
              </a:spcAft>
              <a:buFont typeface="Symbol" panose="05050102010706020507" pitchFamily="18" charset="2"/>
              <a:buChar char="-"/>
              <a:defRPr sz="1600" spc="20" baseline="0"/>
            </a:lvl5pPr>
            <a:lvl6pPr marL="648000" indent="-216000">
              <a:lnSpc>
                <a:spcPct val="120000"/>
              </a:lnSpc>
              <a:spcBef>
                <a:spcPts val="200"/>
              </a:spcBef>
              <a:spcAft>
                <a:spcPts val="300"/>
              </a:spcAft>
              <a:buFont typeface="Symbol" panose="05050102010706020507" pitchFamily="18" charset="2"/>
              <a:buChar char="-"/>
              <a:defRPr sz="1600" spc="20" baseline="0"/>
            </a:lvl6pPr>
            <a:lvl7pPr marL="648000" indent="-216000">
              <a:lnSpc>
                <a:spcPct val="120000"/>
              </a:lnSpc>
              <a:spcBef>
                <a:spcPts val="200"/>
              </a:spcBef>
              <a:spcAft>
                <a:spcPts val="300"/>
              </a:spcAft>
              <a:buFont typeface="Symbol" panose="05050102010706020507" pitchFamily="18" charset="2"/>
              <a:buChar char="-"/>
              <a:defRPr sz="1600" spc="20" baseline="0"/>
            </a:lvl7pPr>
            <a:lvl8pPr marL="648000" indent="-216000">
              <a:lnSpc>
                <a:spcPct val="120000"/>
              </a:lnSpc>
              <a:spcBef>
                <a:spcPts val="200"/>
              </a:spcBef>
              <a:spcAft>
                <a:spcPts val="300"/>
              </a:spcAft>
              <a:buFont typeface="Symbol" panose="05050102010706020507" pitchFamily="18" charset="2"/>
              <a:buChar char="-"/>
              <a:defRPr sz="1600" spc="20" baseline="0"/>
            </a:lvl8pPr>
            <a:lvl9pPr marL="648000" indent="-216000">
              <a:lnSpc>
                <a:spcPct val="120000"/>
              </a:lnSpc>
              <a:spcBef>
                <a:spcPts val="200"/>
              </a:spcBef>
              <a:spcAft>
                <a:spcPts val="300"/>
              </a:spcAft>
              <a:buFont typeface="Symbol" panose="05050102010706020507" pitchFamily="18" charset="2"/>
              <a:buChar char="-"/>
              <a:defRPr sz="1600" spc="20" baseline="0"/>
            </a:lvl9pPr>
          </a:lstStyle>
          <a:p>
            <a:r>
              <a:rPr lang="en-US" dirty="0"/>
              <a:t>Lorem ipsum</a:t>
            </a:r>
            <a:br>
              <a:rPr lang="en-US" dirty="0"/>
            </a:br>
            <a:r>
              <a:rPr lang="en-US" dirty="0"/>
              <a:t>dolor sit amet</a:t>
            </a:r>
          </a:p>
        </p:txBody>
      </p:sp>
      <p:sp>
        <p:nvSpPr>
          <p:cNvPr id="50" name="Standard Text">
            <a:extLst>
              <a:ext uri="{FF2B5EF4-FFF2-40B4-BE49-F238E27FC236}">
                <a16:creationId xmlns:a16="http://schemas.microsoft.com/office/drawing/2014/main" id="{1A29C7AB-0329-473A-B434-035ABCEB1E7E}"/>
              </a:ext>
            </a:extLst>
          </p:cNvPr>
          <p:cNvSpPr txBox="1">
            <a:spLocks/>
          </p:cNvSpPr>
          <p:nvPr/>
        </p:nvSpPr>
        <p:spPr bwMode="gray">
          <a:xfrm>
            <a:off x="6240296" y="5373304"/>
            <a:ext cx="2520000" cy="792000"/>
          </a:xfrm>
          <a:prstGeom prst="rect">
            <a:avLst/>
          </a:prstGeom>
        </p:spPr>
        <p:txBody>
          <a:bodyPr vert="horz" lIns="144000" tIns="0" rIns="0" bIns="0" rtlCol="0">
            <a:noAutofit/>
          </a:bodyPr>
          <a:lstStyle>
            <a:defPPr>
              <a:defRPr lang="de-DE"/>
            </a:defPPr>
            <a:lvl1pPr indent="0">
              <a:lnSpc>
                <a:spcPct val="120000"/>
              </a:lnSpc>
              <a:spcBef>
                <a:spcPts val="200"/>
              </a:spcBef>
              <a:spcAft>
                <a:spcPts val="300"/>
              </a:spcAft>
              <a:buFont typeface="Arial" panose="020B0604020202020204" pitchFamily="34" charset="0"/>
              <a:buNone/>
              <a:defRPr sz="1600" b="0" spc="20" baseline="0"/>
            </a:lvl1pPr>
            <a:lvl2pPr marL="0" indent="0">
              <a:lnSpc>
                <a:spcPct val="120000"/>
              </a:lnSpc>
              <a:spcBef>
                <a:spcPts val="1600"/>
              </a:spcBef>
              <a:spcAft>
                <a:spcPts val="300"/>
              </a:spcAft>
              <a:buFont typeface="Arial" panose="020B0604020202020204" pitchFamily="34" charset="0"/>
              <a:buNone/>
              <a:defRPr sz="1600" spc="20" baseline="0">
                <a:latin typeface="+mj-lt"/>
              </a:defRPr>
            </a:lvl2pPr>
            <a:lvl3pPr marL="216000" indent="-216000">
              <a:lnSpc>
                <a:spcPct val="120000"/>
              </a:lnSpc>
              <a:spcBef>
                <a:spcPts val="200"/>
              </a:spcBef>
              <a:spcAft>
                <a:spcPts val="300"/>
              </a:spcAft>
              <a:buFont typeface="Wingdings 2" panose="05020102010507070707" pitchFamily="18" charset="2"/>
              <a:buChar char=""/>
              <a:defRPr sz="1600" spc="20" baseline="0"/>
            </a:lvl3pPr>
            <a:lvl4pPr marL="432000" indent="-216000">
              <a:lnSpc>
                <a:spcPct val="120000"/>
              </a:lnSpc>
              <a:spcBef>
                <a:spcPts val="200"/>
              </a:spcBef>
              <a:spcAft>
                <a:spcPts val="300"/>
              </a:spcAft>
              <a:buFont typeface="Symbol" panose="05050102010706020507" pitchFamily="18" charset="2"/>
              <a:buChar char="-"/>
              <a:defRPr sz="1600" spc="20" baseline="0"/>
            </a:lvl4pPr>
            <a:lvl5pPr marL="648000" indent="-216000">
              <a:lnSpc>
                <a:spcPct val="120000"/>
              </a:lnSpc>
              <a:spcBef>
                <a:spcPts val="200"/>
              </a:spcBef>
              <a:spcAft>
                <a:spcPts val="300"/>
              </a:spcAft>
              <a:buFont typeface="Symbol" panose="05050102010706020507" pitchFamily="18" charset="2"/>
              <a:buChar char="-"/>
              <a:defRPr sz="1600" spc="20" baseline="0"/>
            </a:lvl5pPr>
            <a:lvl6pPr marL="648000" indent="-216000">
              <a:lnSpc>
                <a:spcPct val="120000"/>
              </a:lnSpc>
              <a:spcBef>
                <a:spcPts val="200"/>
              </a:spcBef>
              <a:spcAft>
                <a:spcPts val="300"/>
              </a:spcAft>
              <a:buFont typeface="Symbol" panose="05050102010706020507" pitchFamily="18" charset="2"/>
              <a:buChar char="-"/>
              <a:defRPr sz="1600" spc="20" baseline="0"/>
            </a:lvl6pPr>
            <a:lvl7pPr marL="648000" indent="-216000">
              <a:lnSpc>
                <a:spcPct val="120000"/>
              </a:lnSpc>
              <a:spcBef>
                <a:spcPts val="200"/>
              </a:spcBef>
              <a:spcAft>
                <a:spcPts val="300"/>
              </a:spcAft>
              <a:buFont typeface="Symbol" panose="05050102010706020507" pitchFamily="18" charset="2"/>
              <a:buChar char="-"/>
              <a:defRPr sz="1600" spc="20" baseline="0"/>
            </a:lvl7pPr>
            <a:lvl8pPr marL="648000" indent="-216000">
              <a:lnSpc>
                <a:spcPct val="120000"/>
              </a:lnSpc>
              <a:spcBef>
                <a:spcPts val="200"/>
              </a:spcBef>
              <a:spcAft>
                <a:spcPts val="300"/>
              </a:spcAft>
              <a:buFont typeface="Symbol" panose="05050102010706020507" pitchFamily="18" charset="2"/>
              <a:buChar char="-"/>
              <a:defRPr sz="1600" spc="20" baseline="0"/>
            </a:lvl8pPr>
            <a:lvl9pPr marL="648000" indent="-216000">
              <a:lnSpc>
                <a:spcPct val="120000"/>
              </a:lnSpc>
              <a:spcBef>
                <a:spcPts val="200"/>
              </a:spcBef>
              <a:spcAft>
                <a:spcPts val="300"/>
              </a:spcAft>
              <a:buFont typeface="Symbol" panose="05050102010706020507" pitchFamily="18" charset="2"/>
              <a:buChar char="-"/>
              <a:defRPr sz="1600" spc="20" baseline="0"/>
            </a:lvl9pPr>
          </a:lstStyle>
          <a:p>
            <a:r>
              <a:rPr lang="en-US" dirty="0"/>
              <a:t>Lorem ipsum</a:t>
            </a:r>
            <a:br>
              <a:rPr lang="en-US" dirty="0"/>
            </a:br>
            <a:r>
              <a:rPr lang="en-US" dirty="0"/>
              <a:t>dolor sit amet</a:t>
            </a:r>
          </a:p>
        </p:txBody>
      </p:sp>
      <p:sp>
        <p:nvSpPr>
          <p:cNvPr id="51" name="Standard Text">
            <a:extLst>
              <a:ext uri="{FF2B5EF4-FFF2-40B4-BE49-F238E27FC236}">
                <a16:creationId xmlns:a16="http://schemas.microsoft.com/office/drawing/2014/main" id="{BC587B04-2921-4A23-BFE7-1542774997A1}"/>
              </a:ext>
            </a:extLst>
          </p:cNvPr>
          <p:cNvSpPr txBox="1">
            <a:spLocks/>
          </p:cNvSpPr>
          <p:nvPr/>
        </p:nvSpPr>
        <p:spPr bwMode="gray">
          <a:xfrm>
            <a:off x="9048608" y="5373304"/>
            <a:ext cx="2520000" cy="792000"/>
          </a:xfrm>
          <a:prstGeom prst="rect">
            <a:avLst/>
          </a:prstGeom>
        </p:spPr>
        <p:txBody>
          <a:bodyPr vert="horz" lIns="144000" tIns="0" rIns="0" bIns="0" rtlCol="0">
            <a:noAutofit/>
          </a:bodyPr>
          <a:lstStyle>
            <a:defPPr>
              <a:defRPr lang="de-DE"/>
            </a:defPPr>
            <a:lvl1pPr indent="0">
              <a:lnSpc>
                <a:spcPct val="120000"/>
              </a:lnSpc>
              <a:spcBef>
                <a:spcPts val="200"/>
              </a:spcBef>
              <a:spcAft>
                <a:spcPts val="300"/>
              </a:spcAft>
              <a:buFont typeface="Arial" panose="020B0604020202020204" pitchFamily="34" charset="0"/>
              <a:buNone/>
              <a:defRPr sz="1600" b="0" spc="20" baseline="0"/>
            </a:lvl1pPr>
            <a:lvl2pPr marL="0" indent="0">
              <a:lnSpc>
                <a:spcPct val="120000"/>
              </a:lnSpc>
              <a:spcBef>
                <a:spcPts val="1600"/>
              </a:spcBef>
              <a:spcAft>
                <a:spcPts val="300"/>
              </a:spcAft>
              <a:buFont typeface="Arial" panose="020B0604020202020204" pitchFamily="34" charset="0"/>
              <a:buNone/>
              <a:defRPr sz="1600" spc="20" baseline="0">
                <a:latin typeface="+mj-lt"/>
              </a:defRPr>
            </a:lvl2pPr>
            <a:lvl3pPr marL="216000" indent="-216000">
              <a:lnSpc>
                <a:spcPct val="120000"/>
              </a:lnSpc>
              <a:spcBef>
                <a:spcPts val="200"/>
              </a:spcBef>
              <a:spcAft>
                <a:spcPts val="300"/>
              </a:spcAft>
              <a:buFont typeface="Wingdings 2" panose="05020102010507070707" pitchFamily="18" charset="2"/>
              <a:buChar char=""/>
              <a:defRPr sz="1600" spc="20" baseline="0"/>
            </a:lvl3pPr>
            <a:lvl4pPr marL="432000" indent="-216000">
              <a:lnSpc>
                <a:spcPct val="120000"/>
              </a:lnSpc>
              <a:spcBef>
                <a:spcPts val="200"/>
              </a:spcBef>
              <a:spcAft>
                <a:spcPts val="300"/>
              </a:spcAft>
              <a:buFont typeface="Symbol" panose="05050102010706020507" pitchFamily="18" charset="2"/>
              <a:buChar char="-"/>
              <a:defRPr sz="1600" spc="20" baseline="0"/>
            </a:lvl4pPr>
            <a:lvl5pPr marL="648000" indent="-216000">
              <a:lnSpc>
                <a:spcPct val="120000"/>
              </a:lnSpc>
              <a:spcBef>
                <a:spcPts val="200"/>
              </a:spcBef>
              <a:spcAft>
                <a:spcPts val="300"/>
              </a:spcAft>
              <a:buFont typeface="Symbol" panose="05050102010706020507" pitchFamily="18" charset="2"/>
              <a:buChar char="-"/>
              <a:defRPr sz="1600" spc="20" baseline="0"/>
            </a:lvl5pPr>
            <a:lvl6pPr marL="648000" indent="-216000">
              <a:lnSpc>
                <a:spcPct val="120000"/>
              </a:lnSpc>
              <a:spcBef>
                <a:spcPts val="200"/>
              </a:spcBef>
              <a:spcAft>
                <a:spcPts val="300"/>
              </a:spcAft>
              <a:buFont typeface="Symbol" panose="05050102010706020507" pitchFamily="18" charset="2"/>
              <a:buChar char="-"/>
              <a:defRPr sz="1600" spc="20" baseline="0"/>
            </a:lvl6pPr>
            <a:lvl7pPr marL="648000" indent="-216000">
              <a:lnSpc>
                <a:spcPct val="120000"/>
              </a:lnSpc>
              <a:spcBef>
                <a:spcPts val="200"/>
              </a:spcBef>
              <a:spcAft>
                <a:spcPts val="300"/>
              </a:spcAft>
              <a:buFont typeface="Symbol" panose="05050102010706020507" pitchFamily="18" charset="2"/>
              <a:buChar char="-"/>
              <a:defRPr sz="1600" spc="20" baseline="0"/>
            </a:lvl7pPr>
            <a:lvl8pPr marL="648000" indent="-216000">
              <a:lnSpc>
                <a:spcPct val="120000"/>
              </a:lnSpc>
              <a:spcBef>
                <a:spcPts val="200"/>
              </a:spcBef>
              <a:spcAft>
                <a:spcPts val="300"/>
              </a:spcAft>
              <a:buFont typeface="Symbol" panose="05050102010706020507" pitchFamily="18" charset="2"/>
              <a:buChar char="-"/>
              <a:defRPr sz="1600" spc="20" baseline="0"/>
            </a:lvl8pPr>
            <a:lvl9pPr marL="648000" indent="-216000">
              <a:lnSpc>
                <a:spcPct val="120000"/>
              </a:lnSpc>
              <a:spcBef>
                <a:spcPts val="200"/>
              </a:spcBef>
              <a:spcAft>
                <a:spcPts val="300"/>
              </a:spcAft>
              <a:buFont typeface="Symbol" panose="05050102010706020507" pitchFamily="18" charset="2"/>
              <a:buChar char="-"/>
              <a:defRPr sz="1600" spc="20" baseline="0"/>
            </a:lvl9pPr>
          </a:lstStyle>
          <a:p>
            <a:r>
              <a:rPr lang="en-US" dirty="0"/>
              <a:t>Lorem ipsum</a:t>
            </a:r>
            <a:br>
              <a:rPr lang="en-US" dirty="0"/>
            </a:br>
            <a:r>
              <a:rPr lang="en-US" dirty="0"/>
              <a:t>dolor sit amet</a:t>
            </a:r>
          </a:p>
        </p:txBody>
      </p:sp>
      <p:sp>
        <p:nvSpPr>
          <p:cNvPr id="3" name="Slide Number Placeholder 2">
            <a:extLst>
              <a:ext uri="{FF2B5EF4-FFF2-40B4-BE49-F238E27FC236}">
                <a16:creationId xmlns:a16="http://schemas.microsoft.com/office/drawing/2014/main" id="{52AC1D97-5683-5895-74C8-E7055825A126}"/>
              </a:ext>
            </a:extLst>
          </p:cNvPr>
          <p:cNvSpPr>
            <a:spLocks noGrp="1"/>
          </p:cNvSpPr>
          <p:nvPr>
            <p:ph type="sldNum" sz="quarter" idx="12"/>
          </p:nvPr>
        </p:nvSpPr>
        <p:spPr/>
        <p:txBody>
          <a:bodyPr/>
          <a:lstStyle/>
          <a:p>
            <a:r>
              <a:rPr lang="en-US"/>
              <a:t>|  </a:t>
            </a:r>
            <a:fld id="{8FF9B0DE-3FEB-4AA0-B465-B80EF7C1333D}" type="slidenum">
              <a:rPr lang="en-US"/>
              <a:pPr/>
              <a:t>2</a:t>
            </a:fld>
            <a:endParaRPr lang="en-US" dirty="0"/>
          </a:p>
        </p:txBody>
      </p:sp>
    </p:spTree>
    <p:custDataLst>
      <p:custData r:id="rId1"/>
      <p:custData r:id="rId2"/>
    </p:custDataLst>
    <p:extLst>
      <p:ext uri="{BB962C8B-B14F-4D97-AF65-F5344CB8AC3E}">
        <p14:creationId xmlns:p14="http://schemas.microsoft.com/office/powerpoint/2010/main" val="2663600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dec="http://schemas.microsoft.com/office/drawing/2017/decorative" xmlns:v="urn:schemas-microsoft-com:vml" xmlns:a16="http://schemas.microsoft.com/office/drawing/2014/main"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Zühlke Engineering">
  <a:themeElements>
    <a:clrScheme name="Zühlke final">
      <a:dk1>
        <a:srgbClr val="4D4D4D"/>
      </a:dk1>
      <a:lt1>
        <a:sysClr val="window" lastClr="FFFFFF"/>
      </a:lt1>
      <a:dk2>
        <a:srgbClr val="985B9C"/>
      </a:dk2>
      <a:lt2>
        <a:srgbClr val="666666"/>
      </a:lt2>
      <a:accent1>
        <a:srgbClr val="0099CC"/>
      </a:accent1>
      <a:accent2>
        <a:srgbClr val="66CCFF"/>
      </a:accent2>
      <a:accent3>
        <a:srgbClr val="00CC66"/>
      </a:accent3>
      <a:accent4>
        <a:srgbClr val="CCCCCC"/>
      </a:accent4>
      <a:accent5>
        <a:srgbClr val="8C8C8C"/>
      </a:accent5>
      <a:accent6>
        <a:srgbClr val="CCFF00"/>
      </a:accent6>
      <a:hlink>
        <a:srgbClr val="985B9C"/>
      </a:hlink>
      <a:folHlink>
        <a:srgbClr val="4D4D4D"/>
      </a:folHlink>
    </a:clrScheme>
    <a:fontScheme name="Zuehlke TTF">
      <a:majorFont>
        <a:latin typeface="AA Zuehlke Medium"/>
        <a:ea typeface=""/>
        <a:cs typeface=""/>
      </a:majorFont>
      <a:minorFont>
        <a:latin typeface="AA Zuehlk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accent1"/>
        </a:solidFill>
        <a:ln w="6350">
          <a:noFill/>
        </a:ln>
      </a:spPr>
      <a:bodyPr lIns="0" tIns="0" rIns="0" bIns="0" rtlCol="0" anchor="ctr"/>
      <a:lstStyle>
        <a:defPPr algn="ctr">
          <a:lnSpc>
            <a:spcPct val="120000"/>
          </a:lnSpc>
          <a:defRPr sz="1600" spc="2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a:solidFill>
            <a:schemeClr val="tx2">
              <a:alpha val="50000"/>
            </a:schemeClr>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noAutofit/>
      </a:bodyPr>
      <a:lstStyle>
        <a:defPPr marL="216000" indent="-216000" algn="l">
          <a:lnSpc>
            <a:spcPct val="120000"/>
          </a:lnSpc>
          <a:spcBef>
            <a:spcPts val="200"/>
          </a:spcBef>
          <a:spcAft>
            <a:spcPts val="300"/>
          </a:spcAft>
          <a:buFont typeface="Wingdings 2" panose="05020102010507070707" pitchFamily="18" charset="2"/>
          <a:buChar char="¡"/>
          <a:defRPr sz="1600" spc="20" dirty="0" err="1" smtClean="0"/>
        </a:defPPr>
      </a:lstStyle>
    </a:txDef>
  </a:objectDefaults>
  <a:extraClrSchemeLst/>
  <a:custClrLst>
    <a:custClr name="Purple 100">
      <a:srgbClr val="985B9C"/>
    </a:custClr>
    <a:custClr name="Blue 100">
      <a:srgbClr val="0099CC"/>
    </a:custClr>
    <a:custClr name="Bright Blue 100">
      <a:srgbClr val="66CCFF"/>
    </a:custClr>
    <a:custClr name="Green 100">
      <a:srgbClr val="00CC66"/>
    </a:custClr>
    <a:custClr name="Bright Green 100">
      <a:srgbClr val="CCFF00"/>
    </a:custClr>
    <a:custClr name="Light Gray 100">
      <a:srgbClr val="CCCCCC"/>
    </a:custClr>
    <a:custClr name="Dark Gray 100">
      <a:srgbClr val="666666"/>
    </a:custClr>
    <a:custClr name="empty">
      <a:srgbClr val="FFFFFF"/>
    </a:custClr>
    <a:custClr name="empty">
      <a:srgbClr val="FFFFFF"/>
    </a:custClr>
    <a:custClr name="Orange 100">
      <a:srgbClr val="FF9900"/>
    </a:custClr>
    <a:custClr name="Purple 75">
      <a:srgbClr val="B284B5"/>
    </a:custClr>
    <a:custClr name="Blue 75">
      <a:srgbClr val="40B3D9"/>
    </a:custClr>
    <a:custClr name="Bright Blue 75">
      <a:srgbClr val="8CD9FF"/>
    </a:custClr>
    <a:custClr name="Green 75">
      <a:srgbClr val="40D98C"/>
    </a:custClr>
    <a:custClr name="Bright Green 75">
      <a:srgbClr val="D9FF40"/>
    </a:custClr>
    <a:custClr name="Light Gray 75">
      <a:srgbClr val="D9D9D9"/>
    </a:custClr>
    <a:custClr name="Dark Gray 75">
      <a:srgbClr val="8C8C8C"/>
    </a:custClr>
    <a:custClr name="empty">
      <a:srgbClr val="FFFFFF"/>
    </a:custClr>
    <a:custClr name="empty">
      <a:srgbClr val="FFFFFF"/>
    </a:custClr>
    <a:custClr name="Orange 75">
      <a:srgbClr val="FFB340"/>
    </a:custClr>
    <a:custClr name="Purple 50">
      <a:srgbClr val="CBADCD"/>
    </a:custClr>
    <a:custClr name="Blue 50">
      <a:srgbClr val="80CCE5"/>
    </a:custClr>
    <a:custClr name="Bright Blue 50">
      <a:srgbClr val="B2E5FF"/>
    </a:custClr>
    <a:custClr name="Green 50">
      <a:srgbClr val="80E5B2"/>
    </a:custClr>
    <a:custClr name="Bright Green 50">
      <a:srgbClr val="E5FF80"/>
    </a:custClr>
    <a:custClr name="Light Gray 50">
      <a:srgbClr val="E5E5E5"/>
    </a:custClr>
    <a:custClr name="Dark Gray 50">
      <a:srgbClr val="B2B2B2"/>
    </a:custClr>
    <a:custClr name="empty">
      <a:srgbClr val="FFFFFF"/>
    </a:custClr>
    <a:custClr name="empty">
      <a:srgbClr val="FFFFFF"/>
    </a:custClr>
    <a:custClr name="Orange 50">
      <a:srgbClr val="FFCC80"/>
    </a:custClr>
    <a:custClr name="Purple 25">
      <a:srgbClr val="E5D6E6"/>
    </a:custClr>
    <a:custClr name="Blue 25">
      <a:srgbClr val="BFE5F2"/>
    </a:custClr>
    <a:custClr name="Bright Blue 25">
      <a:srgbClr val="D9F2FF"/>
    </a:custClr>
    <a:custClr name="Green 25">
      <a:srgbClr val="BFF2D9"/>
    </a:custClr>
    <a:custClr name="Bright Green 25">
      <a:srgbClr val="F2FFBF"/>
    </a:custClr>
    <a:custClr name="Light Gray 25">
      <a:srgbClr val="F2F2F2"/>
    </a:custClr>
    <a:custClr name="Dark Gray 25">
      <a:srgbClr val="D9D9D9"/>
    </a:custClr>
    <a:custClr name="empty">
      <a:srgbClr val="FFFFFF"/>
    </a:custClr>
    <a:custClr name="empty">
      <a:srgbClr val="FFFFFF"/>
    </a:custClr>
    <a:custClr name="Orange 25">
      <a:srgbClr val="FFE5BF"/>
    </a:custClr>
  </a:custClrLst>
  <a:extLst>
    <a:ext uri="{05A4C25C-085E-4340-85A3-A5531E510DB2}">
      <thm15:themeFamily xmlns:thm15="http://schemas.microsoft.com/office/thememl/2012/main" name="K16_Zuehlke_Master_EN_20220503.potx" id="{4B7323E7-9784-43B5-9F7C-4F57CF7A6D33}" vid="{43B9C5B5-F536-4C3A-B812-EDE638C25490}"/>
    </a:ext>
  </a:extLst>
</a:theme>
</file>

<file path=ppt/theme/theme2.xml><?xml version="1.0" encoding="utf-8"?>
<a:theme xmlns:a="http://schemas.openxmlformats.org/drawingml/2006/main" name="Office">
  <a:themeElements>
    <a:clrScheme name="Zühlke final">
      <a:dk1>
        <a:srgbClr val="4D4D4D"/>
      </a:dk1>
      <a:lt1>
        <a:sysClr val="window" lastClr="FFFFFF"/>
      </a:lt1>
      <a:dk2>
        <a:srgbClr val="985B9C"/>
      </a:dk2>
      <a:lt2>
        <a:srgbClr val="666666"/>
      </a:lt2>
      <a:accent1>
        <a:srgbClr val="0099CC"/>
      </a:accent1>
      <a:accent2>
        <a:srgbClr val="66CCFF"/>
      </a:accent2>
      <a:accent3>
        <a:srgbClr val="00CC66"/>
      </a:accent3>
      <a:accent4>
        <a:srgbClr val="CCCCCC"/>
      </a:accent4>
      <a:accent5>
        <a:srgbClr val="8C8C8C"/>
      </a:accent5>
      <a:accent6>
        <a:srgbClr val="CCFF00"/>
      </a:accent6>
      <a:hlink>
        <a:srgbClr val="985B9C"/>
      </a:hlink>
      <a:folHlink>
        <a:srgbClr val="4D4D4D"/>
      </a:folHlink>
    </a:clrScheme>
    <a:fontScheme name="Zuehlke final">
      <a:majorFont>
        <a:latin typeface="AA Zuehlke Med OTPS"/>
        <a:ea typeface=""/>
        <a:cs typeface=""/>
      </a:majorFont>
      <a:minorFont>
        <a:latin typeface="AA Zuehlke OTP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Zühlke final">
      <a:dk1>
        <a:srgbClr val="4D4D4D"/>
      </a:dk1>
      <a:lt1>
        <a:sysClr val="window" lastClr="FFFFFF"/>
      </a:lt1>
      <a:dk2>
        <a:srgbClr val="985B9C"/>
      </a:dk2>
      <a:lt2>
        <a:srgbClr val="666666"/>
      </a:lt2>
      <a:accent1>
        <a:srgbClr val="0099CC"/>
      </a:accent1>
      <a:accent2>
        <a:srgbClr val="66CCFF"/>
      </a:accent2>
      <a:accent3>
        <a:srgbClr val="00CC66"/>
      </a:accent3>
      <a:accent4>
        <a:srgbClr val="CCCCCC"/>
      </a:accent4>
      <a:accent5>
        <a:srgbClr val="8C8C8C"/>
      </a:accent5>
      <a:accent6>
        <a:srgbClr val="CCFF00"/>
      </a:accent6>
      <a:hlink>
        <a:srgbClr val="985B9C"/>
      </a:hlink>
      <a:folHlink>
        <a:srgbClr val="4D4D4D"/>
      </a:folHlink>
    </a:clrScheme>
    <a:fontScheme name="Zuehlke final">
      <a:majorFont>
        <a:latin typeface="AA Zuehlke Med OTPS"/>
        <a:ea typeface=""/>
        <a:cs typeface=""/>
      </a:majorFont>
      <a:minorFont>
        <a:latin typeface="AA Zuehlke OTP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00.xml.rels><?xml version="1.0" encoding="UTF-8" standalone="yes"?>
<Relationships xmlns="http://schemas.openxmlformats.org/package/2006/relationships"><Relationship Id="rId1" Type="http://schemas.openxmlformats.org/officeDocument/2006/relationships/customXmlProps" Target="itemProps100.xml"/></Relationships>
</file>

<file path=customXml/_rels/item101.xml.rels><?xml version="1.0" encoding="UTF-8" standalone="yes"?>
<Relationships xmlns="http://schemas.openxmlformats.org/package/2006/relationships"><Relationship Id="rId1" Type="http://schemas.openxmlformats.org/officeDocument/2006/relationships/customXmlProps" Target="itemProps101.xml"/></Relationships>
</file>

<file path=customXml/_rels/item102.xml.rels><?xml version="1.0" encoding="UTF-8" standalone="yes"?>
<Relationships xmlns="http://schemas.openxmlformats.org/package/2006/relationships"><Relationship Id="rId1" Type="http://schemas.openxmlformats.org/officeDocument/2006/relationships/customXmlProps" Target="itemProps102.xml"/></Relationships>
</file>

<file path=customXml/_rels/item103.xml.rels><?xml version="1.0" encoding="UTF-8" standalone="yes"?>
<Relationships xmlns="http://schemas.openxmlformats.org/package/2006/relationships"><Relationship Id="rId1" Type="http://schemas.openxmlformats.org/officeDocument/2006/relationships/customXmlProps" Target="itemProps103.xml"/></Relationships>
</file>

<file path=customXml/_rels/item104.xml.rels><?xml version="1.0" encoding="UTF-8" standalone="yes"?>
<Relationships xmlns="http://schemas.openxmlformats.org/package/2006/relationships"><Relationship Id="rId1" Type="http://schemas.openxmlformats.org/officeDocument/2006/relationships/customXmlProps" Target="itemProps104.xml"/></Relationships>
</file>

<file path=customXml/_rels/item105.xml.rels><?xml version="1.0" encoding="UTF-8" standalone="yes"?>
<Relationships xmlns="http://schemas.openxmlformats.org/package/2006/relationships"><Relationship Id="rId1" Type="http://schemas.openxmlformats.org/officeDocument/2006/relationships/customXmlProps" Target="itemProps105.xml"/></Relationships>
</file>

<file path=customXml/_rels/item106.xml.rels><?xml version="1.0" encoding="UTF-8" standalone="yes"?>
<Relationships xmlns="http://schemas.openxmlformats.org/package/2006/relationships"><Relationship Id="rId1" Type="http://schemas.openxmlformats.org/officeDocument/2006/relationships/customXmlProps" Target="itemProps106.xml"/></Relationships>
</file>

<file path=customXml/_rels/item107.xml.rels><?xml version="1.0" encoding="UTF-8" standalone="yes"?>
<Relationships xmlns="http://schemas.openxmlformats.org/package/2006/relationships"><Relationship Id="rId1" Type="http://schemas.openxmlformats.org/officeDocument/2006/relationships/customXmlProps" Target="itemProps107.xml"/></Relationships>
</file>

<file path=customXml/_rels/item108.xml.rels><?xml version="1.0" encoding="UTF-8" standalone="yes"?>
<Relationships xmlns="http://schemas.openxmlformats.org/package/2006/relationships"><Relationship Id="rId1" Type="http://schemas.openxmlformats.org/officeDocument/2006/relationships/customXmlProps" Target="itemProps108.xml"/></Relationships>
</file>

<file path=customXml/_rels/item109.xml.rels><?xml version="1.0" encoding="UTF-8" standalone="yes"?>
<Relationships xmlns="http://schemas.openxmlformats.org/package/2006/relationships"><Relationship Id="rId1" Type="http://schemas.openxmlformats.org/officeDocument/2006/relationships/customXmlProps" Target="itemProps109.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10.xml.rels><?xml version="1.0" encoding="UTF-8" standalone="yes"?>
<Relationships xmlns="http://schemas.openxmlformats.org/package/2006/relationships"><Relationship Id="rId1" Type="http://schemas.openxmlformats.org/officeDocument/2006/relationships/customXmlProps" Target="itemProps110.xml"/></Relationships>
</file>

<file path=customXml/_rels/item111.xml.rels><?xml version="1.0" encoding="UTF-8" standalone="yes"?>
<Relationships xmlns="http://schemas.openxmlformats.org/package/2006/relationships"><Relationship Id="rId1" Type="http://schemas.openxmlformats.org/officeDocument/2006/relationships/customXmlProps" Target="itemProps111.xml"/></Relationships>
</file>

<file path=customXml/_rels/item112.xml.rels><?xml version="1.0" encoding="UTF-8" standalone="yes"?>
<Relationships xmlns="http://schemas.openxmlformats.org/package/2006/relationships"><Relationship Id="rId1" Type="http://schemas.openxmlformats.org/officeDocument/2006/relationships/customXmlProps" Target="itemProps112.xml"/></Relationships>
</file>

<file path=customXml/_rels/item113.xml.rels><?xml version="1.0" encoding="UTF-8" standalone="yes"?>
<Relationships xmlns="http://schemas.openxmlformats.org/package/2006/relationships"><Relationship Id="rId1" Type="http://schemas.openxmlformats.org/officeDocument/2006/relationships/customXmlProps" Target="itemProps113.xml"/></Relationships>
</file>

<file path=customXml/_rels/item114.xml.rels><?xml version="1.0" encoding="UTF-8" standalone="yes"?>
<Relationships xmlns="http://schemas.openxmlformats.org/package/2006/relationships"><Relationship Id="rId1" Type="http://schemas.openxmlformats.org/officeDocument/2006/relationships/customXmlProps" Target="itemProps114.xml"/></Relationships>
</file>

<file path=customXml/_rels/item115.xml.rels><?xml version="1.0" encoding="UTF-8" standalone="yes"?>
<Relationships xmlns="http://schemas.openxmlformats.org/package/2006/relationships"><Relationship Id="rId1" Type="http://schemas.openxmlformats.org/officeDocument/2006/relationships/customXmlProps" Target="itemProps115.xml"/></Relationships>
</file>

<file path=customXml/_rels/item116.xml.rels><?xml version="1.0" encoding="UTF-8" standalone="yes"?>
<Relationships xmlns="http://schemas.openxmlformats.org/package/2006/relationships"><Relationship Id="rId1" Type="http://schemas.openxmlformats.org/officeDocument/2006/relationships/customXmlProps" Target="itemProps116.xml"/></Relationships>
</file>

<file path=customXml/_rels/item117.xml.rels><?xml version="1.0" encoding="UTF-8" standalone="yes"?>
<Relationships xmlns="http://schemas.openxmlformats.org/package/2006/relationships"><Relationship Id="rId1" Type="http://schemas.openxmlformats.org/officeDocument/2006/relationships/customXmlProps" Target="itemProps117.xml"/></Relationships>
</file>

<file path=customXml/_rels/item118.xml.rels><?xml version="1.0" encoding="UTF-8" standalone="yes"?>
<Relationships xmlns="http://schemas.openxmlformats.org/package/2006/relationships"><Relationship Id="rId1" Type="http://schemas.openxmlformats.org/officeDocument/2006/relationships/customXmlProps" Target="itemProps118.xml"/></Relationships>
</file>

<file path=customXml/_rels/item119.xml.rels><?xml version="1.0" encoding="UTF-8" standalone="yes"?>
<Relationships xmlns="http://schemas.openxmlformats.org/package/2006/relationships"><Relationship Id="rId1" Type="http://schemas.openxmlformats.org/officeDocument/2006/relationships/customXmlProps" Target="itemProps119.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20.xml.rels><?xml version="1.0" encoding="UTF-8" standalone="yes"?>
<Relationships xmlns="http://schemas.openxmlformats.org/package/2006/relationships"><Relationship Id="rId1" Type="http://schemas.openxmlformats.org/officeDocument/2006/relationships/customXmlProps" Target="itemProps120.xml"/></Relationships>
</file>

<file path=customXml/_rels/item121.xml.rels><?xml version="1.0" encoding="UTF-8" standalone="yes"?>
<Relationships xmlns="http://schemas.openxmlformats.org/package/2006/relationships"><Relationship Id="rId1" Type="http://schemas.openxmlformats.org/officeDocument/2006/relationships/customXmlProps" Target="itemProps121.xml"/></Relationships>
</file>

<file path=customXml/_rels/item122.xml.rels><?xml version="1.0" encoding="UTF-8" standalone="yes"?>
<Relationships xmlns="http://schemas.openxmlformats.org/package/2006/relationships"><Relationship Id="rId1" Type="http://schemas.openxmlformats.org/officeDocument/2006/relationships/customXmlProps" Target="itemProps122.xml"/></Relationships>
</file>

<file path=customXml/_rels/item123.xml.rels><?xml version="1.0" encoding="UTF-8" standalone="yes"?>
<Relationships xmlns="http://schemas.openxmlformats.org/package/2006/relationships"><Relationship Id="rId1" Type="http://schemas.openxmlformats.org/officeDocument/2006/relationships/customXmlProps" Target="itemProps123.xml"/></Relationships>
</file>

<file path=customXml/_rels/item124.xml.rels><?xml version="1.0" encoding="UTF-8" standalone="yes"?>
<Relationships xmlns="http://schemas.openxmlformats.org/package/2006/relationships"><Relationship Id="rId1" Type="http://schemas.openxmlformats.org/officeDocument/2006/relationships/customXmlProps" Target="itemProps124.xml"/></Relationships>
</file>

<file path=customXml/_rels/item125.xml.rels><?xml version="1.0" encoding="UTF-8" standalone="yes"?>
<Relationships xmlns="http://schemas.openxmlformats.org/package/2006/relationships"><Relationship Id="rId1" Type="http://schemas.openxmlformats.org/officeDocument/2006/relationships/customXmlProps" Target="itemProps125.xml"/></Relationships>
</file>

<file path=customXml/_rels/item126.xml.rels><?xml version="1.0" encoding="UTF-8" standalone="yes"?>
<Relationships xmlns="http://schemas.openxmlformats.org/package/2006/relationships"><Relationship Id="rId1" Type="http://schemas.openxmlformats.org/officeDocument/2006/relationships/customXmlProps" Target="itemProps126.xml"/></Relationships>
</file>

<file path=customXml/_rels/item127.xml.rels><?xml version="1.0" encoding="UTF-8" standalone="yes"?>
<Relationships xmlns="http://schemas.openxmlformats.org/package/2006/relationships"><Relationship Id="rId1" Type="http://schemas.openxmlformats.org/officeDocument/2006/relationships/customXmlProps" Target="itemProps127.xml"/></Relationships>
</file>

<file path=customXml/_rels/item128.xml.rels><?xml version="1.0" encoding="UTF-8" standalone="yes"?>
<Relationships xmlns="http://schemas.openxmlformats.org/package/2006/relationships"><Relationship Id="rId1" Type="http://schemas.openxmlformats.org/officeDocument/2006/relationships/customXmlProps" Target="itemProps128.xml"/></Relationships>
</file>

<file path=customXml/_rels/item129.xml.rels><?xml version="1.0" encoding="UTF-8" standalone="yes"?>
<Relationships xmlns="http://schemas.openxmlformats.org/package/2006/relationships"><Relationship Id="rId1" Type="http://schemas.openxmlformats.org/officeDocument/2006/relationships/customXmlProps" Target="itemProps129.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30.xml.rels><?xml version="1.0" encoding="UTF-8" standalone="yes"?>
<Relationships xmlns="http://schemas.openxmlformats.org/package/2006/relationships"><Relationship Id="rId1" Type="http://schemas.openxmlformats.org/officeDocument/2006/relationships/customXmlProps" Target="itemProps130.xml"/></Relationships>
</file>

<file path=customXml/_rels/item131.xml.rels><?xml version="1.0" encoding="UTF-8" standalone="yes"?>
<Relationships xmlns="http://schemas.openxmlformats.org/package/2006/relationships"><Relationship Id="rId1" Type="http://schemas.openxmlformats.org/officeDocument/2006/relationships/customXmlProps" Target="itemProps131.xml"/></Relationships>
</file>

<file path=customXml/_rels/item132.xml.rels><?xml version="1.0" encoding="UTF-8" standalone="yes"?>
<Relationships xmlns="http://schemas.openxmlformats.org/package/2006/relationships"><Relationship Id="rId1" Type="http://schemas.openxmlformats.org/officeDocument/2006/relationships/customXmlProps" Target="itemProps132.xml"/></Relationships>
</file>

<file path=customXml/_rels/item133.xml.rels><?xml version="1.0" encoding="UTF-8" standalone="yes"?>
<Relationships xmlns="http://schemas.openxmlformats.org/package/2006/relationships"><Relationship Id="rId1" Type="http://schemas.openxmlformats.org/officeDocument/2006/relationships/customXmlProps" Target="itemProps133.xml"/></Relationships>
</file>

<file path=customXml/_rels/item134.xml.rels><?xml version="1.0" encoding="UTF-8" standalone="yes"?>
<Relationships xmlns="http://schemas.openxmlformats.org/package/2006/relationships"><Relationship Id="rId1" Type="http://schemas.openxmlformats.org/officeDocument/2006/relationships/customXmlProps" Target="itemProps134.xml"/></Relationships>
</file>

<file path=customXml/_rels/item135.xml.rels><?xml version="1.0" encoding="UTF-8" standalone="yes"?>
<Relationships xmlns="http://schemas.openxmlformats.org/package/2006/relationships"><Relationship Id="rId1" Type="http://schemas.openxmlformats.org/officeDocument/2006/relationships/customXmlProps" Target="itemProps135.xml"/></Relationships>
</file>

<file path=customXml/_rels/item136.xml.rels><?xml version="1.0" encoding="UTF-8" standalone="yes"?>
<Relationships xmlns="http://schemas.openxmlformats.org/package/2006/relationships"><Relationship Id="rId1" Type="http://schemas.openxmlformats.org/officeDocument/2006/relationships/customXmlProps" Target="itemProps136.xml"/></Relationships>
</file>

<file path=customXml/_rels/item137.xml.rels><?xml version="1.0" encoding="UTF-8" standalone="yes"?>
<Relationships xmlns="http://schemas.openxmlformats.org/package/2006/relationships"><Relationship Id="rId1" Type="http://schemas.openxmlformats.org/officeDocument/2006/relationships/customXmlProps" Target="itemProps137.xml"/></Relationships>
</file>

<file path=customXml/_rels/item138.xml.rels><?xml version="1.0" encoding="UTF-8" standalone="yes"?>
<Relationships xmlns="http://schemas.openxmlformats.org/package/2006/relationships"><Relationship Id="rId1" Type="http://schemas.openxmlformats.org/officeDocument/2006/relationships/customXmlProps" Target="itemProps138.xml"/></Relationships>
</file>

<file path=customXml/_rels/item139.xml.rels><?xml version="1.0" encoding="UTF-8" standalone="yes"?>
<Relationships xmlns="http://schemas.openxmlformats.org/package/2006/relationships"><Relationship Id="rId1" Type="http://schemas.openxmlformats.org/officeDocument/2006/relationships/customXmlProps" Target="itemProps139.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40.xml.rels><?xml version="1.0" encoding="UTF-8" standalone="yes"?>
<Relationships xmlns="http://schemas.openxmlformats.org/package/2006/relationships"><Relationship Id="rId1" Type="http://schemas.openxmlformats.org/officeDocument/2006/relationships/customXmlProps" Target="itemProps140.xml"/></Relationships>
</file>

<file path=customXml/_rels/item141.xml.rels><?xml version="1.0" encoding="UTF-8" standalone="yes"?>
<Relationships xmlns="http://schemas.openxmlformats.org/package/2006/relationships"><Relationship Id="rId1" Type="http://schemas.openxmlformats.org/officeDocument/2006/relationships/customXmlProps" Target="itemProps141.xml"/></Relationships>
</file>

<file path=customXml/_rels/item142.xml.rels><?xml version="1.0" encoding="UTF-8" standalone="yes"?>
<Relationships xmlns="http://schemas.openxmlformats.org/package/2006/relationships"><Relationship Id="rId1" Type="http://schemas.openxmlformats.org/officeDocument/2006/relationships/customXmlProps" Target="itemProps142.xml"/></Relationships>
</file>

<file path=customXml/_rels/item143.xml.rels><?xml version="1.0" encoding="UTF-8" standalone="yes"?>
<Relationships xmlns="http://schemas.openxmlformats.org/package/2006/relationships"><Relationship Id="rId1" Type="http://schemas.openxmlformats.org/officeDocument/2006/relationships/customXmlProps" Target="itemProps143.xml"/></Relationships>
</file>

<file path=customXml/_rels/item144.xml.rels><?xml version="1.0" encoding="UTF-8" standalone="yes"?>
<Relationships xmlns="http://schemas.openxmlformats.org/package/2006/relationships"><Relationship Id="rId1" Type="http://schemas.openxmlformats.org/officeDocument/2006/relationships/customXmlProps" Target="itemProps144.xml"/></Relationships>
</file>

<file path=customXml/_rels/item145.xml.rels><?xml version="1.0" encoding="UTF-8" standalone="yes"?>
<Relationships xmlns="http://schemas.openxmlformats.org/package/2006/relationships"><Relationship Id="rId1" Type="http://schemas.openxmlformats.org/officeDocument/2006/relationships/customXmlProps" Target="itemProps145.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27.xml.rels><?xml version="1.0" encoding="UTF-8" standalone="yes"?>
<Relationships xmlns="http://schemas.openxmlformats.org/package/2006/relationships"><Relationship Id="rId1" Type="http://schemas.openxmlformats.org/officeDocument/2006/relationships/customXmlProps" Target="itemProps27.xml"/></Relationships>
</file>

<file path=customXml/_rels/item28.xml.rels><?xml version="1.0" encoding="UTF-8" standalone="yes"?>
<Relationships xmlns="http://schemas.openxmlformats.org/package/2006/relationships"><Relationship Id="rId1" Type="http://schemas.openxmlformats.org/officeDocument/2006/relationships/customXmlProps" Target="itemProps28.xml"/></Relationships>
</file>

<file path=customXml/_rels/item29.xml.rels><?xml version="1.0" encoding="UTF-8" standalone="yes"?>
<Relationships xmlns="http://schemas.openxmlformats.org/package/2006/relationships"><Relationship Id="rId1" Type="http://schemas.openxmlformats.org/officeDocument/2006/relationships/customXmlProps" Target="itemProps29.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30.xml.rels><?xml version="1.0" encoding="UTF-8" standalone="yes"?>
<Relationships xmlns="http://schemas.openxmlformats.org/package/2006/relationships"><Relationship Id="rId1" Type="http://schemas.openxmlformats.org/officeDocument/2006/relationships/customXmlProps" Target="itemProps30.xml"/></Relationships>
</file>

<file path=customXml/_rels/item31.xml.rels><?xml version="1.0" encoding="UTF-8" standalone="yes"?>
<Relationships xmlns="http://schemas.openxmlformats.org/package/2006/relationships"><Relationship Id="rId1" Type="http://schemas.openxmlformats.org/officeDocument/2006/relationships/customXmlProps" Target="itemProps31.xml"/></Relationships>
</file>

<file path=customXml/_rels/item32.xml.rels><?xml version="1.0" encoding="UTF-8" standalone="yes"?>
<Relationships xmlns="http://schemas.openxmlformats.org/package/2006/relationships"><Relationship Id="rId1" Type="http://schemas.openxmlformats.org/officeDocument/2006/relationships/customXmlProps" Target="itemProps32.xml"/></Relationships>
</file>

<file path=customXml/_rels/item33.xml.rels><?xml version="1.0" encoding="UTF-8" standalone="yes"?>
<Relationships xmlns="http://schemas.openxmlformats.org/package/2006/relationships"><Relationship Id="rId1" Type="http://schemas.openxmlformats.org/officeDocument/2006/relationships/customXmlProps" Target="itemProps33.xml"/></Relationships>
</file>

<file path=customXml/_rels/item34.xml.rels><?xml version="1.0" encoding="UTF-8" standalone="yes"?>
<Relationships xmlns="http://schemas.openxmlformats.org/package/2006/relationships"><Relationship Id="rId1" Type="http://schemas.openxmlformats.org/officeDocument/2006/relationships/customXmlProps" Target="itemProps34.xml"/></Relationships>
</file>

<file path=customXml/_rels/item35.xml.rels><?xml version="1.0" encoding="UTF-8" standalone="yes"?>
<Relationships xmlns="http://schemas.openxmlformats.org/package/2006/relationships"><Relationship Id="rId1" Type="http://schemas.openxmlformats.org/officeDocument/2006/relationships/customXmlProps" Target="itemProps35.xml"/></Relationships>
</file>

<file path=customXml/_rels/item36.xml.rels><?xml version="1.0" encoding="UTF-8" standalone="yes"?>
<Relationships xmlns="http://schemas.openxmlformats.org/package/2006/relationships"><Relationship Id="rId1" Type="http://schemas.openxmlformats.org/officeDocument/2006/relationships/customXmlProps" Target="itemProps36.xml"/></Relationships>
</file>

<file path=customXml/_rels/item37.xml.rels><?xml version="1.0" encoding="UTF-8" standalone="yes"?>
<Relationships xmlns="http://schemas.openxmlformats.org/package/2006/relationships"><Relationship Id="rId1" Type="http://schemas.openxmlformats.org/officeDocument/2006/relationships/customXmlProps" Target="itemProps37.xml"/></Relationships>
</file>

<file path=customXml/_rels/item38.xml.rels><?xml version="1.0" encoding="UTF-8" standalone="yes"?>
<Relationships xmlns="http://schemas.openxmlformats.org/package/2006/relationships"><Relationship Id="rId1" Type="http://schemas.openxmlformats.org/officeDocument/2006/relationships/customXmlProps" Target="itemProps38.xml"/></Relationships>
</file>

<file path=customXml/_rels/item39.xml.rels><?xml version="1.0" encoding="UTF-8" standalone="yes"?>
<Relationships xmlns="http://schemas.openxmlformats.org/package/2006/relationships"><Relationship Id="rId1" Type="http://schemas.openxmlformats.org/officeDocument/2006/relationships/customXmlProps" Target="itemProps39.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40.xml.rels><?xml version="1.0" encoding="UTF-8" standalone="yes"?>
<Relationships xmlns="http://schemas.openxmlformats.org/package/2006/relationships"><Relationship Id="rId1" Type="http://schemas.openxmlformats.org/officeDocument/2006/relationships/customXmlProps" Target="itemProps40.xml"/></Relationships>
</file>

<file path=customXml/_rels/item41.xml.rels><?xml version="1.0" encoding="UTF-8" standalone="yes"?>
<Relationships xmlns="http://schemas.openxmlformats.org/package/2006/relationships"><Relationship Id="rId1" Type="http://schemas.openxmlformats.org/officeDocument/2006/relationships/customXmlProps" Target="itemProps41.xml"/></Relationships>
</file>

<file path=customXml/_rels/item42.xml.rels><?xml version="1.0" encoding="UTF-8" standalone="yes"?>
<Relationships xmlns="http://schemas.openxmlformats.org/package/2006/relationships"><Relationship Id="rId1" Type="http://schemas.openxmlformats.org/officeDocument/2006/relationships/customXmlProps" Target="itemProps42.xml"/></Relationships>
</file>

<file path=customXml/_rels/item43.xml.rels><?xml version="1.0" encoding="UTF-8" standalone="yes"?>
<Relationships xmlns="http://schemas.openxmlformats.org/package/2006/relationships"><Relationship Id="rId1" Type="http://schemas.openxmlformats.org/officeDocument/2006/relationships/customXmlProps" Target="itemProps43.xml"/></Relationships>
</file>

<file path=customXml/_rels/item44.xml.rels><?xml version="1.0" encoding="UTF-8" standalone="yes"?>
<Relationships xmlns="http://schemas.openxmlformats.org/package/2006/relationships"><Relationship Id="rId1" Type="http://schemas.openxmlformats.org/officeDocument/2006/relationships/customXmlProps" Target="itemProps44.xml"/></Relationships>
</file>

<file path=customXml/_rels/item45.xml.rels><?xml version="1.0" encoding="UTF-8" standalone="yes"?>
<Relationships xmlns="http://schemas.openxmlformats.org/package/2006/relationships"><Relationship Id="rId1" Type="http://schemas.openxmlformats.org/officeDocument/2006/relationships/customXmlProps" Target="itemProps45.xml"/></Relationships>
</file>

<file path=customXml/_rels/item46.xml.rels><?xml version="1.0" encoding="UTF-8" standalone="yes"?>
<Relationships xmlns="http://schemas.openxmlformats.org/package/2006/relationships"><Relationship Id="rId1" Type="http://schemas.openxmlformats.org/officeDocument/2006/relationships/customXmlProps" Target="itemProps46.xml"/></Relationships>
</file>

<file path=customXml/_rels/item47.xml.rels><?xml version="1.0" encoding="UTF-8" standalone="yes"?>
<Relationships xmlns="http://schemas.openxmlformats.org/package/2006/relationships"><Relationship Id="rId1" Type="http://schemas.openxmlformats.org/officeDocument/2006/relationships/customXmlProps" Target="itemProps47.xml"/></Relationships>
</file>

<file path=customXml/_rels/item48.xml.rels><?xml version="1.0" encoding="UTF-8" standalone="yes"?>
<Relationships xmlns="http://schemas.openxmlformats.org/package/2006/relationships"><Relationship Id="rId1" Type="http://schemas.openxmlformats.org/officeDocument/2006/relationships/customXmlProps" Target="itemProps48.xml"/></Relationships>
</file>

<file path=customXml/_rels/item49.xml.rels><?xml version="1.0" encoding="UTF-8" standalone="yes"?>
<Relationships xmlns="http://schemas.openxmlformats.org/package/2006/relationships"><Relationship Id="rId1" Type="http://schemas.openxmlformats.org/officeDocument/2006/relationships/customXmlProps" Target="itemProps49.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50.xml.rels><?xml version="1.0" encoding="UTF-8" standalone="yes"?>
<Relationships xmlns="http://schemas.openxmlformats.org/package/2006/relationships"><Relationship Id="rId1" Type="http://schemas.openxmlformats.org/officeDocument/2006/relationships/customXmlProps" Target="itemProps50.xml"/></Relationships>
</file>

<file path=customXml/_rels/item51.xml.rels><?xml version="1.0" encoding="UTF-8" standalone="yes"?>
<Relationships xmlns="http://schemas.openxmlformats.org/package/2006/relationships"><Relationship Id="rId1" Type="http://schemas.openxmlformats.org/officeDocument/2006/relationships/customXmlProps" Target="itemProps51.xml"/></Relationships>
</file>

<file path=customXml/_rels/item52.xml.rels><?xml version="1.0" encoding="UTF-8" standalone="yes"?>
<Relationships xmlns="http://schemas.openxmlformats.org/package/2006/relationships"><Relationship Id="rId1" Type="http://schemas.openxmlformats.org/officeDocument/2006/relationships/customXmlProps" Target="itemProps52.xml"/></Relationships>
</file>

<file path=customXml/_rels/item53.xml.rels><?xml version="1.0" encoding="UTF-8" standalone="yes"?>
<Relationships xmlns="http://schemas.openxmlformats.org/package/2006/relationships"><Relationship Id="rId1" Type="http://schemas.openxmlformats.org/officeDocument/2006/relationships/customXmlProps" Target="itemProps53.xml"/></Relationships>
</file>

<file path=customXml/_rels/item54.xml.rels><?xml version="1.0" encoding="UTF-8" standalone="yes"?>
<Relationships xmlns="http://schemas.openxmlformats.org/package/2006/relationships"><Relationship Id="rId1" Type="http://schemas.openxmlformats.org/officeDocument/2006/relationships/customXmlProps" Target="itemProps54.xml"/></Relationships>
</file>

<file path=customXml/_rels/item55.xml.rels><?xml version="1.0" encoding="UTF-8" standalone="yes"?>
<Relationships xmlns="http://schemas.openxmlformats.org/package/2006/relationships"><Relationship Id="rId1" Type="http://schemas.openxmlformats.org/officeDocument/2006/relationships/customXmlProps" Target="itemProps55.xml"/></Relationships>
</file>

<file path=customXml/_rels/item56.xml.rels><?xml version="1.0" encoding="UTF-8" standalone="yes"?>
<Relationships xmlns="http://schemas.openxmlformats.org/package/2006/relationships"><Relationship Id="rId1" Type="http://schemas.openxmlformats.org/officeDocument/2006/relationships/customXmlProps" Target="itemProps56.xml"/></Relationships>
</file>

<file path=customXml/_rels/item57.xml.rels><?xml version="1.0" encoding="UTF-8" standalone="yes"?>
<Relationships xmlns="http://schemas.openxmlformats.org/package/2006/relationships"><Relationship Id="rId1" Type="http://schemas.openxmlformats.org/officeDocument/2006/relationships/customXmlProps" Target="itemProps57.xml"/></Relationships>
</file>

<file path=customXml/_rels/item58.xml.rels><?xml version="1.0" encoding="UTF-8" standalone="yes"?>
<Relationships xmlns="http://schemas.openxmlformats.org/package/2006/relationships"><Relationship Id="rId1" Type="http://schemas.openxmlformats.org/officeDocument/2006/relationships/customXmlProps" Target="itemProps58.xml"/></Relationships>
</file>

<file path=customXml/_rels/item59.xml.rels><?xml version="1.0" encoding="UTF-8" standalone="yes"?>
<Relationships xmlns="http://schemas.openxmlformats.org/package/2006/relationships"><Relationship Id="rId1" Type="http://schemas.openxmlformats.org/officeDocument/2006/relationships/customXmlProps" Target="itemProps59.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60.xml.rels><?xml version="1.0" encoding="UTF-8" standalone="yes"?>
<Relationships xmlns="http://schemas.openxmlformats.org/package/2006/relationships"><Relationship Id="rId1" Type="http://schemas.openxmlformats.org/officeDocument/2006/relationships/customXmlProps" Target="itemProps60.xml"/></Relationships>
</file>

<file path=customXml/_rels/item61.xml.rels><?xml version="1.0" encoding="UTF-8" standalone="yes"?>
<Relationships xmlns="http://schemas.openxmlformats.org/package/2006/relationships"><Relationship Id="rId1" Type="http://schemas.openxmlformats.org/officeDocument/2006/relationships/customXmlProps" Target="itemProps61.xml"/></Relationships>
</file>

<file path=customXml/_rels/item62.xml.rels><?xml version="1.0" encoding="UTF-8" standalone="yes"?>
<Relationships xmlns="http://schemas.openxmlformats.org/package/2006/relationships"><Relationship Id="rId1" Type="http://schemas.openxmlformats.org/officeDocument/2006/relationships/customXmlProps" Target="itemProps62.xml"/></Relationships>
</file>

<file path=customXml/_rels/item63.xml.rels><?xml version="1.0" encoding="UTF-8" standalone="yes"?>
<Relationships xmlns="http://schemas.openxmlformats.org/package/2006/relationships"><Relationship Id="rId1" Type="http://schemas.openxmlformats.org/officeDocument/2006/relationships/customXmlProps" Target="itemProps63.xml"/></Relationships>
</file>

<file path=customXml/_rels/item64.xml.rels><?xml version="1.0" encoding="UTF-8" standalone="yes"?>
<Relationships xmlns="http://schemas.openxmlformats.org/package/2006/relationships"><Relationship Id="rId1" Type="http://schemas.openxmlformats.org/officeDocument/2006/relationships/customXmlProps" Target="itemProps64.xml"/></Relationships>
</file>

<file path=customXml/_rels/item65.xml.rels><?xml version="1.0" encoding="UTF-8" standalone="yes"?>
<Relationships xmlns="http://schemas.openxmlformats.org/package/2006/relationships"><Relationship Id="rId1" Type="http://schemas.openxmlformats.org/officeDocument/2006/relationships/customXmlProps" Target="itemProps65.xml"/></Relationships>
</file>

<file path=customXml/_rels/item66.xml.rels><?xml version="1.0" encoding="UTF-8" standalone="yes"?>
<Relationships xmlns="http://schemas.openxmlformats.org/package/2006/relationships"><Relationship Id="rId1" Type="http://schemas.openxmlformats.org/officeDocument/2006/relationships/customXmlProps" Target="itemProps66.xml"/></Relationships>
</file>

<file path=customXml/_rels/item67.xml.rels><?xml version="1.0" encoding="UTF-8" standalone="yes"?>
<Relationships xmlns="http://schemas.openxmlformats.org/package/2006/relationships"><Relationship Id="rId1" Type="http://schemas.openxmlformats.org/officeDocument/2006/relationships/customXmlProps" Target="itemProps67.xml"/></Relationships>
</file>

<file path=customXml/_rels/item68.xml.rels><?xml version="1.0" encoding="UTF-8" standalone="yes"?>
<Relationships xmlns="http://schemas.openxmlformats.org/package/2006/relationships"><Relationship Id="rId1" Type="http://schemas.openxmlformats.org/officeDocument/2006/relationships/customXmlProps" Target="itemProps68.xml"/></Relationships>
</file>

<file path=customXml/_rels/item69.xml.rels><?xml version="1.0" encoding="UTF-8" standalone="yes"?>
<Relationships xmlns="http://schemas.openxmlformats.org/package/2006/relationships"><Relationship Id="rId1" Type="http://schemas.openxmlformats.org/officeDocument/2006/relationships/customXmlProps" Target="itemProps69.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70.xml.rels><?xml version="1.0" encoding="UTF-8" standalone="yes"?>
<Relationships xmlns="http://schemas.openxmlformats.org/package/2006/relationships"><Relationship Id="rId1" Type="http://schemas.openxmlformats.org/officeDocument/2006/relationships/customXmlProps" Target="itemProps70.xml"/></Relationships>
</file>

<file path=customXml/_rels/item71.xml.rels><?xml version="1.0" encoding="UTF-8" standalone="yes"?>
<Relationships xmlns="http://schemas.openxmlformats.org/package/2006/relationships"><Relationship Id="rId1" Type="http://schemas.openxmlformats.org/officeDocument/2006/relationships/customXmlProps" Target="itemProps71.xml"/></Relationships>
</file>

<file path=customXml/_rels/item72.xml.rels><?xml version="1.0" encoding="UTF-8" standalone="yes"?>
<Relationships xmlns="http://schemas.openxmlformats.org/package/2006/relationships"><Relationship Id="rId1" Type="http://schemas.openxmlformats.org/officeDocument/2006/relationships/customXmlProps" Target="itemProps72.xml"/></Relationships>
</file>

<file path=customXml/_rels/item73.xml.rels><?xml version="1.0" encoding="UTF-8" standalone="yes"?>
<Relationships xmlns="http://schemas.openxmlformats.org/package/2006/relationships"><Relationship Id="rId1" Type="http://schemas.openxmlformats.org/officeDocument/2006/relationships/customXmlProps" Target="itemProps73.xml"/></Relationships>
</file>

<file path=customXml/_rels/item74.xml.rels><?xml version="1.0" encoding="UTF-8" standalone="yes"?>
<Relationships xmlns="http://schemas.openxmlformats.org/package/2006/relationships"><Relationship Id="rId1" Type="http://schemas.openxmlformats.org/officeDocument/2006/relationships/customXmlProps" Target="itemProps74.xml"/></Relationships>
</file>

<file path=customXml/_rels/item75.xml.rels><?xml version="1.0" encoding="UTF-8" standalone="yes"?>
<Relationships xmlns="http://schemas.openxmlformats.org/package/2006/relationships"><Relationship Id="rId1" Type="http://schemas.openxmlformats.org/officeDocument/2006/relationships/customXmlProps" Target="itemProps75.xml"/></Relationships>
</file>

<file path=customXml/_rels/item76.xml.rels><?xml version="1.0" encoding="UTF-8" standalone="yes"?>
<Relationships xmlns="http://schemas.openxmlformats.org/package/2006/relationships"><Relationship Id="rId1" Type="http://schemas.openxmlformats.org/officeDocument/2006/relationships/customXmlProps" Target="itemProps76.xml"/></Relationships>
</file>

<file path=customXml/_rels/item77.xml.rels><?xml version="1.0" encoding="UTF-8" standalone="yes"?>
<Relationships xmlns="http://schemas.openxmlformats.org/package/2006/relationships"><Relationship Id="rId1" Type="http://schemas.openxmlformats.org/officeDocument/2006/relationships/customXmlProps" Target="itemProps77.xml"/></Relationships>
</file>

<file path=customXml/_rels/item78.xml.rels><?xml version="1.0" encoding="UTF-8" standalone="yes"?>
<Relationships xmlns="http://schemas.openxmlformats.org/package/2006/relationships"><Relationship Id="rId1" Type="http://schemas.openxmlformats.org/officeDocument/2006/relationships/customXmlProps" Target="itemProps78.xml"/></Relationships>
</file>

<file path=customXml/_rels/item79.xml.rels><?xml version="1.0" encoding="UTF-8" standalone="yes"?>
<Relationships xmlns="http://schemas.openxmlformats.org/package/2006/relationships"><Relationship Id="rId1" Type="http://schemas.openxmlformats.org/officeDocument/2006/relationships/customXmlProps" Target="itemProps79.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80.xml.rels><?xml version="1.0" encoding="UTF-8" standalone="yes"?>
<Relationships xmlns="http://schemas.openxmlformats.org/package/2006/relationships"><Relationship Id="rId1" Type="http://schemas.openxmlformats.org/officeDocument/2006/relationships/customXmlProps" Target="itemProps80.xml"/></Relationships>
</file>

<file path=customXml/_rels/item81.xml.rels><?xml version="1.0" encoding="UTF-8" standalone="yes"?>
<Relationships xmlns="http://schemas.openxmlformats.org/package/2006/relationships"><Relationship Id="rId1" Type="http://schemas.openxmlformats.org/officeDocument/2006/relationships/customXmlProps" Target="itemProps81.xml"/></Relationships>
</file>

<file path=customXml/_rels/item82.xml.rels><?xml version="1.0" encoding="UTF-8" standalone="yes"?>
<Relationships xmlns="http://schemas.openxmlformats.org/package/2006/relationships"><Relationship Id="rId1" Type="http://schemas.openxmlformats.org/officeDocument/2006/relationships/customXmlProps" Target="itemProps82.xml"/></Relationships>
</file>

<file path=customXml/_rels/item83.xml.rels><?xml version="1.0" encoding="UTF-8" standalone="yes"?>
<Relationships xmlns="http://schemas.openxmlformats.org/package/2006/relationships"><Relationship Id="rId1" Type="http://schemas.openxmlformats.org/officeDocument/2006/relationships/customXmlProps" Target="itemProps83.xml"/></Relationships>
</file>

<file path=customXml/_rels/item84.xml.rels><?xml version="1.0" encoding="UTF-8" standalone="yes"?>
<Relationships xmlns="http://schemas.openxmlformats.org/package/2006/relationships"><Relationship Id="rId1" Type="http://schemas.openxmlformats.org/officeDocument/2006/relationships/customXmlProps" Target="itemProps84.xml"/></Relationships>
</file>

<file path=customXml/_rels/item85.xml.rels><?xml version="1.0" encoding="UTF-8" standalone="yes"?>
<Relationships xmlns="http://schemas.openxmlformats.org/package/2006/relationships"><Relationship Id="rId1" Type="http://schemas.openxmlformats.org/officeDocument/2006/relationships/customXmlProps" Target="itemProps85.xml"/></Relationships>
</file>

<file path=customXml/_rels/item86.xml.rels><?xml version="1.0" encoding="UTF-8" standalone="yes"?>
<Relationships xmlns="http://schemas.openxmlformats.org/package/2006/relationships"><Relationship Id="rId1" Type="http://schemas.openxmlformats.org/officeDocument/2006/relationships/customXmlProps" Target="itemProps86.xml"/></Relationships>
</file>

<file path=customXml/_rels/item87.xml.rels><?xml version="1.0" encoding="UTF-8" standalone="yes"?>
<Relationships xmlns="http://schemas.openxmlformats.org/package/2006/relationships"><Relationship Id="rId1" Type="http://schemas.openxmlformats.org/officeDocument/2006/relationships/customXmlProps" Target="itemProps87.xml"/></Relationships>
</file>

<file path=customXml/_rels/item88.xml.rels><?xml version="1.0" encoding="UTF-8" standalone="yes"?>
<Relationships xmlns="http://schemas.openxmlformats.org/package/2006/relationships"><Relationship Id="rId1" Type="http://schemas.openxmlformats.org/officeDocument/2006/relationships/customXmlProps" Target="itemProps88.xml"/></Relationships>
</file>

<file path=customXml/_rels/item89.xml.rels><?xml version="1.0" encoding="UTF-8" standalone="yes"?>
<Relationships xmlns="http://schemas.openxmlformats.org/package/2006/relationships"><Relationship Id="rId1" Type="http://schemas.openxmlformats.org/officeDocument/2006/relationships/customXmlProps" Target="itemProps89.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_rels/item90.xml.rels><?xml version="1.0" encoding="UTF-8" standalone="yes"?>
<Relationships xmlns="http://schemas.openxmlformats.org/package/2006/relationships"><Relationship Id="rId1" Type="http://schemas.openxmlformats.org/officeDocument/2006/relationships/customXmlProps" Target="itemProps90.xml"/></Relationships>
</file>

<file path=customXml/_rels/item91.xml.rels><?xml version="1.0" encoding="UTF-8" standalone="yes"?>
<Relationships xmlns="http://schemas.openxmlformats.org/package/2006/relationships"><Relationship Id="rId1" Type="http://schemas.openxmlformats.org/officeDocument/2006/relationships/customXmlProps" Target="itemProps91.xml"/></Relationships>
</file>

<file path=customXml/_rels/item92.xml.rels><?xml version="1.0" encoding="UTF-8" standalone="yes"?>
<Relationships xmlns="http://schemas.openxmlformats.org/package/2006/relationships"><Relationship Id="rId1" Type="http://schemas.openxmlformats.org/officeDocument/2006/relationships/customXmlProps" Target="itemProps92.xml"/></Relationships>
</file>

<file path=customXml/_rels/item93.xml.rels><?xml version="1.0" encoding="UTF-8" standalone="yes"?>
<Relationships xmlns="http://schemas.openxmlformats.org/package/2006/relationships"><Relationship Id="rId1" Type="http://schemas.openxmlformats.org/officeDocument/2006/relationships/customXmlProps" Target="itemProps93.xml"/></Relationships>
</file>

<file path=customXml/_rels/item94.xml.rels><?xml version="1.0" encoding="UTF-8" standalone="yes"?>
<Relationships xmlns="http://schemas.openxmlformats.org/package/2006/relationships"><Relationship Id="rId1" Type="http://schemas.openxmlformats.org/officeDocument/2006/relationships/customXmlProps" Target="itemProps94.xml"/></Relationships>
</file>

<file path=customXml/_rels/item95.xml.rels><?xml version="1.0" encoding="UTF-8" standalone="yes"?>
<Relationships xmlns="http://schemas.openxmlformats.org/package/2006/relationships"><Relationship Id="rId1" Type="http://schemas.openxmlformats.org/officeDocument/2006/relationships/customXmlProps" Target="itemProps95.xml"/></Relationships>
</file>

<file path=customXml/_rels/item96.xml.rels><?xml version="1.0" encoding="UTF-8" standalone="yes"?>
<Relationships xmlns="http://schemas.openxmlformats.org/package/2006/relationships"><Relationship Id="rId1" Type="http://schemas.openxmlformats.org/officeDocument/2006/relationships/customXmlProps" Target="itemProps96.xml"/></Relationships>
</file>

<file path=customXml/_rels/item97.xml.rels><?xml version="1.0" encoding="UTF-8" standalone="yes"?>
<Relationships xmlns="http://schemas.openxmlformats.org/package/2006/relationships"><Relationship Id="rId1" Type="http://schemas.openxmlformats.org/officeDocument/2006/relationships/customXmlProps" Target="itemProps97.xml"/></Relationships>
</file>

<file path=customXml/_rels/item98.xml.rels><?xml version="1.0" encoding="UTF-8" standalone="yes"?>
<Relationships xmlns="http://schemas.openxmlformats.org/package/2006/relationships"><Relationship Id="rId1" Type="http://schemas.openxmlformats.org/officeDocument/2006/relationships/customXmlProps" Target="itemProps98.xml"/></Relationships>
</file>

<file path=customXml/_rels/item99.xml.rels><?xml version="1.0" encoding="UTF-8" standalone="yes"?>
<Relationships xmlns="http://schemas.openxmlformats.org/package/2006/relationships"><Relationship Id="rId1" Type="http://schemas.openxmlformats.org/officeDocument/2006/relationships/customXmlProps" Target="itemProps99.xml"/></Relationships>
</file>

<file path=customXml/item1.xml><?xml version="1.0" encoding="utf-8"?>
<TemplafySlideFormConfiguration><![CDATA[{"formFields":[],"formDataEntries":[]}]]></TemplafySlideFormConfiguration>
</file>

<file path=customXml/item10.xml><?xml version="1.0" encoding="utf-8"?>
<TemplafySlideTemplateConfiguration><![CDATA[{"slideVersion":1,"isValidatorEnabled":false,"isLocked":false,"elementsMetadata":[{"elementConfiguration":{"binding":"{{FormatDateTime(Form.Date,Translate(\"Format_CustomB\",UserProfile.DocumentLanguage.Language.Language),UserProfile.DocumentLanguage.Language.Language)}}","disableUpdates":false,"type":"text"},"type":"shape"}],"slideId":"637895212777247726","enableDocumentContentUpdater":true,"version":"2.0"}]]></TemplafySlideTemplateConfiguration>
</file>

<file path=customXml/item100.xml><?xml version="1.0" encoding="utf-8"?>
<TemplafySlideFormConfiguration><![CDATA[{"formFields":[],"formDataEntries":[]}]]></TemplafySlideFormConfiguration>
</file>

<file path=customXml/item101.xml><?xml version="1.0" encoding="utf-8"?>
<TemplafySlideFormConfiguration><![CDATA[{"formFields":[],"formDataEntries":[]}]]></TemplafySlideFormConfiguration>
</file>

<file path=customXml/item102.xml><?xml version="1.0" encoding="utf-8"?>
<TemplafyFormConfiguration><![CDATA[{"formFields":[{"type":"datePicker","label":"Date","name":"Date","helpTexts":null,"locked":false,"spacing":null,"required":false},{"type":"textBox","label":"Title","name":"Title","helpTexts":null,"locked":false,"spacing":null,"defaultValue":null,"lines":1,"placeholder":"","required":false,"maxLength":null,"shareValue":false}],"formDataEntries":[]}]]></TemplafyFormConfiguration>
</file>

<file path=customXml/item103.xml><?xml version="1.0" encoding="utf-8"?>
<TemplafySlideFormConfiguration><![CDATA[{"formFields":[],"formDataEntries":[]}]]></TemplafySlideFormConfiguration>
</file>

<file path=customXml/item104.xml><?xml version="1.0" encoding="utf-8"?>
<TemplafySlideTemplateConfiguration><![CDATA[{"slideVersion":1,"isValidatorEnabled":false,"isLocked":false,"elementsMetadata":[],"slideId":"637895212768271351","enableDocumentContentUpdater":true,"version":"2.0"}]]></TemplafySlideTemplateConfiguration>
</file>

<file path=customXml/item105.xml><?xml version="1.0" encoding="utf-8"?>
<TemplafySlideTemplateConfiguration><![CDATA[{"slideVersion":1,"isValidatorEnabled":false,"isLocked":false,"elementsMetadata":[],"slideId":"637895212769824519","enableDocumentContentUpdater":true,"version":"2.0"}]]></TemplafySlideTemplateConfiguration>
</file>

<file path=customXml/item106.xml><?xml version="1.0" encoding="utf-8"?>
<TemplafySlideTemplateConfiguration><![CDATA[{"slideVersion":1,"isValidatorEnabled":false,"isLocked":false,"elementsMetadata":[],"slideId":"637895212765574438","enableDocumentContentUpdater":true,"version":"2.0"}]]></TemplafySlideTemplateConfiguration>
</file>

<file path=customXml/item107.xml><?xml version="1.0" encoding="utf-8"?>
<TemplafySlideTemplateConfiguration><![CDATA[{"slideVersion":1,"isValidatorEnabled":false,"isLocked":false,"elementsMetadata":[{"elementConfiguration":{"binding":"{{FormatDateTime(Form.Date,Translate(\"Format_CustomB\",UserProfile.DocumentLanguage.Language.Language),UserProfile.DocumentLanguage.Language.Language)}}","disableUpdates":false,"type":"text"},"type":"shape"}],"slideId":"637895212774917886","enableDocumentContentUpdater":true,"version":"2.0"}]]></TemplafySlideTemplateConfiguration>
</file>

<file path=customXml/item108.xml><?xml version="1.0" encoding="utf-8"?>
<TemplafySlideTemplateConfiguration><![CDATA[{"slideVersion":1,"isValidatorEnabled":false,"isLocked":false,"elementsMetadata":[{"elementConfiguration":{"binding":"{{FormatDateTime(Form.Date,Translate(\"Format_CustomB\",UserProfile.DocumentLanguage.Language.Language),UserProfile.DocumentLanguage.Language.Language)}}","disableUpdates":false,"type":"text"},"type":"shape"}],"slideId":"637895212766754749","enableDocumentContentUpdater":true,"version":"2.0"}]]></TemplafySlideTemplateConfiguration>
</file>

<file path=customXml/item109.xml><?xml version="1.0" encoding="utf-8"?>
<TemplafySlideFormConfiguration><![CDATA[{"formFields":[],"formDataEntries":[]}]]></TemplafySlideFormConfiguration>
</file>

<file path=customXml/item11.xml><?xml version="1.0" encoding="utf-8"?>
<TemplafySlideTemplateConfiguration><![CDATA[{"slideVersion":1,"isValidatorEnabled":false,"isLocked":false,"elementsMetadata":[],"slideId":"637895212765717457","enableDocumentContentUpdater":true,"version":"2.0"}]]></TemplafySlideTemplateConfiguration>
</file>

<file path=customXml/item110.xml><?xml version="1.0" encoding="utf-8"?>
<TemplafySlideTemplateConfiguration><![CDATA[{"slideVersion":1,"isValidatorEnabled":false,"isLocked":false,"elementsMetadata":[],"slideId":"637895212766614073","enableDocumentContentUpdater":true,"version":"2.0"}]]></TemplafySlideTemplateConfiguration>
</file>

<file path=customXml/item111.xml><?xml version="1.0" encoding="utf-8"?>
<TemplafySlideTemplateConfiguration><![CDATA[{"slideVersion":1,"isValidatorEnabled":false,"isLocked":false,"elementsMetadata":[],"slideId":"637895212778643801","enableDocumentContentUpdater":true,"version":"2.0"}]]></TemplafySlideTemplateConfiguration>
</file>

<file path=customXml/item112.xml><?xml version="1.0" encoding="utf-8"?>
<TemplafySlideTemplateConfiguration><![CDATA[{"slideVersion":1,"isValidatorEnabled":false,"isLocked":false,"elementsMetadata":[],"slideId":"637895212768315563","enableDocumentContentUpdater":true,"version":"2.0"}]]></TemplafySlideTemplateConfiguration>
</file>

<file path=customXml/item113.xml><?xml version="1.0" encoding="utf-8"?>
<ct:contentTypeSchema xmlns:ct="http://schemas.microsoft.com/office/2006/metadata/contentType" xmlns:ma="http://schemas.microsoft.com/office/2006/metadata/properties/metaAttributes" ct:_="" ma:_="" ma:contentTypeName="Document" ma:contentTypeID="0x0101009C3CCF29AC71D4428C978BA42A6A441C" ma:contentTypeVersion="34" ma:contentTypeDescription="Een nieuw document maken." ma:contentTypeScope="" ma:versionID="7d158b9b3fd3ec60989cb2b3e32d5771">
  <xsd:schema xmlns:xsd="http://www.w3.org/2001/XMLSchema" xmlns:xs="http://www.w3.org/2001/XMLSchema" xmlns:p="http://schemas.microsoft.com/office/2006/metadata/properties" xmlns:ns1="http://schemas.microsoft.com/sharepoint/v3" xmlns:ns2="aacb7df8-672f-46f2-977f-893ce5cef86b" xmlns:ns3="22a3f1e7-1ad8-4567-967d-700183da1d1b" targetNamespace="http://schemas.microsoft.com/office/2006/metadata/properties" ma:root="true" ma:fieldsID="b2ea9b1e2fb62c990773d12b5caa2323" ns1:_="" ns2:_="" ns3:_="">
    <xsd:import namespace="http://schemas.microsoft.com/sharepoint/v3"/>
    <xsd:import namespace="aacb7df8-672f-46f2-977f-893ce5cef86b"/>
    <xsd:import namespace="22a3f1e7-1ad8-4567-967d-700183da1d1b"/>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DateTaken" minOccurs="0"/>
                <xsd:element ref="ns2:MediaServiceLocation" minOccurs="0"/>
                <xsd:element ref="ns2:MediaServiceOCR" minOccurs="0"/>
                <xsd:element ref="ns3:SharedWithUsers" minOccurs="0"/>
                <xsd:element ref="ns3:SharedWithDetails" minOccurs="0"/>
                <xsd:element ref="ns2:MediaServiceGenerationTime" minOccurs="0"/>
                <xsd:element ref="ns2:MediaServiceEventHashCode" minOccurs="0"/>
                <xsd:element ref="ns1:_ip_UnifiedCompliancePolicyProperties" minOccurs="0"/>
                <xsd:element ref="ns1:_ip_UnifiedCompliancePolicyUIAction" minOccurs="0"/>
                <xsd:element ref="ns2:MediaServiceAutoKeyPoints" minOccurs="0"/>
                <xsd:element ref="ns2:MediaServiceKeyPoints"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8" nillable="true" ma:displayName="Eigenschappen van het geïntegreerd beleid voor naleving" ma:hidden="true" ma:internalName="_ip_UnifiedCompliancePolicyProperties">
      <xsd:simpleType>
        <xsd:restriction base="dms:Note"/>
      </xsd:simpleType>
    </xsd:element>
    <xsd:element name="_ip_UnifiedCompliancePolicyUIAction" ma:index="19" nillable="true" ma:displayName="Actie van de gebruikersinterface van het geïntegreerd beleid voor naleving"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acb7df8-672f-46f2-977f-893ce5cef86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DateTaken" ma:index="11" nillable="true" ma:displayName="MediaServiceDateTaken" ma:hidden="true" ma:internalName="MediaServiceDateTaken" ma:readOnly="true">
      <xsd:simpleType>
        <xsd:restriction base="dms:Text"/>
      </xsd:simpleType>
    </xsd:element>
    <xsd:element name="MediaServiceLocation" ma:index="12" nillable="true" ma:displayName="MediaServiceLocation" ma:internalName="MediaServiceLocation" ma:readOnly="true">
      <xsd:simpleType>
        <xsd:restriction base="dms:Text"/>
      </xsd:simpleType>
    </xsd:element>
    <xsd:element name="MediaServiceOCR" ma:index="13" nillable="true" ma:displayName="MediaServiceOCR"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AutoKeyPoints" ma:index="20" nillable="true" ma:displayName="MediaServiceAutoKeyPoints" ma:hidden="true" ma:internalName="MediaServiceAutoKeyPoints" ma:readOnly="true">
      <xsd:simpleType>
        <xsd:restriction base="dms:Note"/>
      </xsd:simpleType>
    </xsd:element>
    <xsd:element name="MediaServiceKeyPoints" ma:index="21" nillable="true" ma:displayName="KeyPoints" ma:internalName="MediaServiceKeyPoints" ma:readOnly="true">
      <xsd:simpleType>
        <xsd:restriction base="dms:Note">
          <xsd:maxLength value="255"/>
        </xsd:restriction>
      </xsd:simpleType>
    </xsd:element>
    <xsd:element name="MediaLengthInSeconds" ma:index="22" nillable="true" ma:displayName="Length (seconds)" ma:internalName="MediaLengthInSeconds" ma:readOnly="true">
      <xsd:simpleType>
        <xsd:restriction base="dms:Unknown"/>
      </xsd:simpleType>
    </xsd:element>
    <xsd:element name="lcf76f155ced4ddcb4097134ff3c332f" ma:index="24" nillable="true" ma:taxonomy="true" ma:internalName="lcf76f155ced4ddcb4097134ff3c332f" ma:taxonomyFieldName="MediaServiceImageTags" ma:displayName="Afbeeldingtags" ma:readOnly="false" ma:fieldId="{5cf76f15-5ced-4ddc-b409-7134ff3c332f}" ma:taxonomyMulti="true" ma:sspId="abf9d911-60e3-4694-aed6-bc66dbc4cb50"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2a3f1e7-1ad8-4567-967d-700183da1d1b" elementFormDefault="qualified">
    <xsd:import namespace="http://schemas.microsoft.com/office/2006/documentManagement/types"/>
    <xsd:import namespace="http://schemas.microsoft.com/office/infopath/2007/PartnerControls"/>
    <xsd:element name="SharedWithUsers" ma:index="14" nillable="true" ma:displayName="Gedeeld met"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Gedeeld met details" ma:internalName="SharedWithDetails" ma:readOnly="true">
      <xsd:simpleType>
        <xsd:restriction base="dms:Note">
          <xsd:maxLength value="255"/>
        </xsd:restriction>
      </xsd:simpleType>
    </xsd:element>
    <xsd:element name="TaxCatchAll" ma:index="25" nillable="true" ma:displayName="Taxonomy Catch All Column" ma:hidden="true" ma:list="{91fdf702-cf53-40c8-8dde-89d267aa3274}" ma:internalName="TaxCatchAll" ma:showField="CatchAllData" ma:web="22a3f1e7-1ad8-4567-967d-700183da1d1b">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ou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114.xml><?xml version="1.0" encoding="utf-8"?>
<TemplafySlideTemplateConfiguration><![CDATA[{"slideVersion":1,"isValidatorEnabled":false,"isLocked":false,"elementsMetadata":[],"slideId":"637895212765331635","enableDocumentContentUpdater":true,"version":"2.0"}]]></TemplafySlideTemplateConfiguration>
</file>

<file path=customXml/item115.xml><?xml version="1.0" encoding="utf-8"?>
<TemplafySlideTemplateConfiguration><![CDATA[{"slideVersion":1,"isValidatorEnabled":false,"isLocked":false,"elementsMetadata":[],"slideId":"637895212770017008","enableDocumentContentUpdater":true,"version":"2.0"}]]></TemplafySlideTemplateConfiguration>
</file>

<file path=customXml/item116.xml><?xml version="1.0" encoding="utf-8"?>
<TemplafySlideFormConfiguration><![CDATA[{"formFields":[],"formDataEntries":[]}]]></TemplafySlideFormConfiguration>
</file>

<file path=customXml/item117.xml><?xml version="1.0" encoding="utf-8"?>
<TemplafySlideTemplateConfiguration><![CDATA[{"slideVersion":1,"isValidatorEnabled":false,"isLocked":false,"elementsMetadata":[{"elementConfiguration":{"binding":"{{FormatDateTime(Form.Date,Translate(\"Format_CustomB\",UserProfile.DocumentLanguage.Language.Language),UserProfile.DocumentLanguage.Language.Language)}}","disableUpdates":false,"type":"text"},"type":"shape"}],"slideId":"637895212777898614","enableDocumentContentUpdater":true,"version":"2.0"}]]></TemplafySlideTemplateConfiguration>
</file>

<file path=customXml/item118.xml><?xml version="1.0" encoding="utf-8"?>
<TemplafySlideFormConfiguration><![CDATA[{"formFields":[],"formDataEntries":[]}]]></TemplafySlideFormConfiguration>
</file>

<file path=customXml/item119.xml><?xml version="1.0" encoding="utf-8"?>
<TemplafySlideTemplateConfiguration><![CDATA[{"slideVersion":1,"isValidatorEnabled":false,"isLocked":false,"elementsMetadata":[],"slideId":"637895212765294631","enableDocumentContentUpdater":true,"version":"2.0"}]]></TemplafySlideTemplateConfiguration>
</file>

<file path=customXml/item12.xml><?xml version="1.0" encoding="utf-8"?>
<TemplafySlideTemplateConfiguration><![CDATA[{"slideVersion":1,"isValidatorEnabled":false,"isLocked":false,"elementsMetadata":[],"slideId":"637895212778360831","enableDocumentContentUpdater":true,"version":"2.0"}]]></TemplafySlideTemplateConfiguration>
</file>

<file path=customXml/item120.xml><?xml version="1.0" encoding="utf-8"?>
<TemplafySlideFormConfiguration><![CDATA[{"formFields":[],"formDataEntries":[]}]]></TemplafySlideFormConfiguration>
</file>

<file path=customXml/item121.xml><?xml version="1.0" encoding="utf-8"?>
<TemplafySlideTemplateConfiguration><![CDATA[{"slideVersion":1,"isValidatorEnabled":false,"isLocked":false,"elementsMetadata":[],"slideId":"637895212776620210","enableDocumentContentUpdater":true,"version":"2.0"}]]></TemplafySlideTemplateConfiguration>
</file>

<file path=customXml/item122.xml><?xml version="1.0" encoding="utf-8"?>
<TemplafySlideTemplateConfiguration><![CDATA[{"slideVersion":1,"isValidatorEnabled":false,"isLocked":false,"elementsMetadata":[],"slideId":"637895212769905200","enableDocumentContentUpdater":true,"version":"2.0"}]]></TemplafySlideTemplateConfiguration>
</file>

<file path=customXml/item123.xml><?xml version="1.0" encoding="utf-8"?>
<TemplafySlideFormConfiguration><![CDATA[{"formFields":[],"formDataEntries":[]}]]></TemplafySlideFormConfiguration>
</file>

<file path=customXml/item124.xml><?xml version="1.0" encoding="utf-8"?>
<TemplafySlideTemplateConfiguration><![CDATA[{"slideVersion":1,"isValidatorEnabled":false,"isLocked":false,"elementsMetadata":[],"slideId":"637895212767957058","enableDocumentContentUpdater":true,"version":"2.0"}]]></TemplafySlideTemplateConfiguration>
</file>

<file path=customXml/item125.xml><?xml version="1.0" encoding="utf-8"?>
<TemplafySlideFormConfiguration><![CDATA[{"formFields":[],"formDataEntries":[]}]]></TemplafySlideFormConfiguration>
</file>

<file path=customXml/item126.xml><?xml version="1.0" encoding="utf-8"?>
<TemplafySlideFormConfiguration><![CDATA[{"formFields":[],"formDataEntries":[]}]]></TemplafySlideFormConfiguration>
</file>

<file path=customXml/item127.xml><?xml version="1.0" encoding="utf-8"?>
<TemplafySlideTemplateConfiguration><![CDATA[{"slideVersion":1,"isValidatorEnabled":false,"isLocked":false,"elementsMetadata":[],"slideId":"637895212777122221","enableDocumentContentUpdater":true,"version":"2.0"}]]></TemplafySlideTemplateConfiguration>
</file>

<file path=customXml/item128.xml><?xml version="1.0" encoding="utf-8"?>
<TemplafySlideFormConfiguration><![CDATA[{"formFields":[],"formDataEntries":[]}]]></TemplafySlideFormConfiguration>
</file>

<file path=customXml/item129.xml><?xml version="1.0" encoding="utf-8"?>
<TemplafySlideTemplateConfiguration><![CDATA[{"slideVersion":1,"isValidatorEnabled":false,"isLocked":false,"elementsMetadata":[],"slideId":"637895212765658082","enableDocumentContentUpdater":true,"version":"2.0"}]]></TemplafySlideTemplateConfiguration>
</file>

<file path=customXml/item13.xml><?xml version="1.0" encoding="utf-8"?>
<TemplafySlideTemplateConfiguration><![CDATA[{"slideVersion":1,"isValidatorEnabled":false,"isLocked":false,"elementsMetadata":[],"slideId":"637895212765419342","enableDocumentContentUpdater":true,"version":"2.0"}]]></TemplafySlideTemplateConfiguration>
</file>

<file path=customXml/item130.xml><?xml version="1.0" encoding="utf-8"?>
<TemplafySlideFormConfiguration><![CDATA[{"formFields":[],"formDataEntries":[]}]]></TemplafySlideFormConfiguration>
</file>

<file path=customXml/item131.xml><?xml version="1.0" encoding="utf-8"?>
<TemplafySlideTemplateConfiguration><![CDATA[{"slideVersion":1,"isValidatorEnabled":false,"isLocked":false,"elementsMetadata":[],"slideId":"637895212765396852","enableDocumentContentUpdater":true,"version":"2.0"}]]></TemplafySlideTemplateConfiguration>
</file>

<file path=customXml/item132.xml><?xml version="1.0" encoding="utf-8"?>
<TemplafySlideFormConfiguration><![CDATA[{"formFields":[],"formDataEntries":[]}]]></TemplafySlideFormConfiguration>
</file>

<file path=customXml/item133.xml><?xml version="1.0" encoding="utf-8"?>
<TemplafySlideTemplateConfiguration><![CDATA[{"slideVersion":1,"isValidatorEnabled":false,"isLocked":false,"elementsMetadata":[{"elementConfiguration":{"binding":"{{FormatDateTime(Form.Date,Translate(\"Format_CustomB\",UserProfile.DocumentLanguage.Language.Language),UserProfile.DocumentLanguage.Language.Language)}}","disableUpdates":false,"type":"text"},"type":"shape"}],"slideId":"637895212768990130","enableDocumentContentUpdater":true,"version":"2.0"}]]></TemplafySlideTemplateConfiguration>
</file>

<file path=customXml/item134.xml><?xml version="1.0" encoding="utf-8"?>
<TemplafySlideFormConfiguration><![CDATA[{"formFields":[],"formDataEntries":[]}]]></TemplafySlideFormConfiguration>
</file>

<file path=customXml/item135.xml><?xml version="1.0" encoding="utf-8"?>
<TemplafySlideFormConfiguration><![CDATA[{"formFields":[],"formDataEntries":[]}]]></TemplafySlideFormConfiguration>
</file>

<file path=customXml/item136.xml><?xml version="1.0" encoding="utf-8"?>
<TemplafySlideFormConfiguration><![CDATA[{"formFields":[],"formDataEntries":[]}]]></TemplafySlideFormConfiguration>
</file>

<file path=customXml/item137.xml><?xml version="1.0" encoding="utf-8"?>
<TemplafySlideTemplateConfiguration><![CDATA[{"slideVersion":1,"isValidatorEnabled":false,"isLocked":false,"elementsMetadata":[],"slideId":"637895212768973450","enableDocumentContentUpdater":true,"version":"2.0"}]]></TemplafySlideTemplateConfiguration>
</file>

<file path=customXml/item138.xml><?xml version="1.0" encoding="utf-8"?>
<TemplafySlideTemplateConfiguration><![CDATA[{"slideVersion":1,"isValidatorEnabled":false,"isLocked":false,"elementsMetadata":[{"elementConfiguration":{"binding":"{{FormatDateTime(Form.Date,Translate(\"Format_CustomB\",UserProfile.DocumentLanguage.Language.Language),UserProfile.DocumentLanguage.Language.Language)}}","disableUpdates":false,"type":"text"},"type":"shape"}],"slideId":"637895212765836530","enableDocumentContentUpdater":true,"version":"2.0"}]]></TemplafySlideTemplateConfiguration>
</file>

<file path=customXml/item139.xml><?xml version="1.0" encoding="utf-8"?>
<TemplafySlideFormConfiguration><![CDATA[{"formFields":[],"formDataEntries":[]}]]></TemplafySlideFormConfiguration>
</file>

<file path=customXml/item14.xml><?xml version="1.0" encoding="utf-8"?>
<TemplafySlideTemplateConfiguration><![CDATA[{"slideVersion":1,"isValidatorEnabled":false,"isLocked":false,"elementsMetadata":[],"slideId":"637895212768038367","enableDocumentContentUpdater":true,"version":"2.0"}]]></TemplafySlideTemplateConfiguration>
</file>

<file path=customXml/item140.xml><?xml version="1.0" encoding="utf-8"?>
<TemplafyTemplateConfiguration><![CDATA[{"elementsMetadata":[],"transformationConfigurations":[],"enableDocumentContentUpdater":true,"version":"2.0"}]]></TemplafyTemplateConfiguration>
</file>

<file path=customXml/item141.xml><?xml version="1.0" encoding="utf-8"?>
<TemplafySlideTemplateConfiguration><![CDATA[{"slideVersion":1,"isValidatorEnabled":false,"isLocked":false,"elementsMetadata":[{"elementConfiguration":{"binding":"{{FormatDateTime(Form.Date,Translate(\"Format_CustomD\",UserProfile.DocumentLanguage.Language.Language),UserProfile.DocumentLanguage.Language.Language)}}","disableUpdates":false,"type":"text"},"type":"shape"},{"elementConfiguration":{"binding":"{{Form.Title}}","disableUpdates":false,"type":"text"},"type":"shape"},{"elementConfiguration":{"binding":"{{FormatDateTime(Form.Date,Translate(\"Format_CustomB\",UserProfile.DocumentLanguage.Language.Language),UserProfile.DocumentLanguage.Language.Language)}}","disableUpdates":false,"type":"text"},"type":"shape"},{"elementConfiguration":{"binding":"{{UserProfile.FirstName}} {{UserProfile.LastName}}","disableUpdates":false,"type":"text"},"type":"shape"}],"slideId":"637895212775999513","enableDocumentContentUpdater":true,"version":"2.0"}]]></TemplafySlideTemplateConfiguration>
</file>

<file path=customXml/item142.xml><?xml version="1.0" encoding="utf-8"?>
<TemplafySlideFormConfiguration><![CDATA[{"formFields":[],"formDataEntries":[]}]]></TemplafySlideFormConfiguration>
</file>

<file path=customXml/item143.xml><?xml version="1.0" encoding="utf-8"?>
<TemplafySlideTemplateConfiguration><![CDATA[{"slideVersion":1,"isValidatorEnabled":false,"isLocked":false,"elementsMetadata":[],"slideId":"637895212769769588","enableDocumentContentUpdater":true,"version":"2.0"}]]></TemplafySlideTemplateConfiguration>
</file>

<file path=customXml/item144.xml><?xml version="1.0" encoding="utf-8"?>
<TemplafySlideTemplateConfiguration><![CDATA[{"slideVersion":1,"isValidatorEnabled":false,"isLocked":false,"elementsMetadata":[],"slideId":"637920124785837245","enableDocumentContentUpdater":false,"version":"2.0"}]]></TemplafySlideTemplateConfiguration>
</file>

<file path=customXml/item145.xml><?xml version="1.0" encoding="utf-8"?>
<TemplafySlideFormConfiguration><![CDATA[{"formFields":[],"formDataEntries":[]}]]></TemplafySlideFormConfiguration>
</file>

<file path=customXml/item15.xml><?xml version="1.0" encoding="utf-8"?>
<TemplafySlideTemplateConfiguration><![CDATA[{"slideVersion":1,"isValidatorEnabled":false,"isLocked":false,"elementsMetadata":[{"elementConfiguration":{"binding":"{{Form.Title}}","disableUpdates":false,"type":"text"},"type":"shape"},{"elementConfiguration":{"binding":"{{FormatDateTime(Form.Date,Translate(\"Format_CustomB\",UserProfile.DocumentLanguage.Language.Language),UserProfile.DocumentLanguage.Language.Language)}}","disableUpdates":false,"type":"text"},"type":"shape"},{"elementConfiguration":{"binding":"{{UserProfile.FirstName}} {{UserProfile.LastName}}","disableUpdates":false,"type":"text"},"type":"shape"}],"slideId":"637895212765746756","enableDocumentContentUpdater":true,"version":"2.0"}]]></TemplafySlideTemplateConfiguration>
</file>

<file path=customXml/item16.xml><?xml version="1.0" encoding="utf-8"?>
<TemplafySlideTemplateConfiguration><![CDATA[{"slideVersion":1,"isValidatorEnabled":false,"isLocked":false,"elementsMetadata":[],"slideId":"637895212775678125","enableDocumentContentUpdater":true,"version":"2.0"}]]></TemplafySlideTemplateConfiguration>
</file>

<file path=customXml/item17.xml><?xml version="1.0" encoding="utf-8"?>
<TemplafySlideTemplateConfiguration><![CDATA[{"slideVersion":1,"isValidatorEnabled":false,"isLocked":false,"elementsMetadata":[],"slideId":"637895212778557789","enableDocumentContentUpdater":true,"version":"2.0"}]]></TemplafySlideTemplateConfiguration>
</file>

<file path=customXml/item18.xml><?xml version="1.0" encoding="utf-8"?>
<TemplafySlideFormConfiguration><![CDATA[{"formFields":[],"formDataEntries":[]}]]></TemplafySlideFormConfiguration>
</file>

<file path=customXml/item19.xml><?xml version="1.0" encoding="utf-8"?>
<TemplafySlideTemplateConfiguration><![CDATA[{"slideVersion":1,"isValidatorEnabled":false,"isLocked":false,"elementsMetadata":[],"slideId":"637895212765627145","enableDocumentContentUpdater":true,"version":"2.0"}]]></TemplafySlideTemplateConfiguration>
</file>

<file path=customXml/item2.xml><?xml version="1.0" encoding="utf-8"?>
<TemplafySlideFormConfiguration><![CDATA[{"formFields":[],"formDataEntries":[]}]]></TemplafySlideFormConfiguration>
</file>

<file path=customXml/item20.xml><?xml version="1.0" encoding="utf-8"?>
<TemplafySlideTemplateConfiguration><![CDATA[{"slideVersion":1,"isValidatorEnabled":false,"isLocked":false,"elementsMetadata":[],"slideId":"637895212776274533","enableDocumentContentUpdater":true,"version":"2.0"}]]></TemplafySlideTemplateConfiguration>
</file>

<file path=customXml/item21.xml><?xml version="1.0" encoding="utf-8"?>
<TemplafySlideTemplateConfiguration><![CDATA[{"slideVersion":1,"isValidatorEnabled":false,"isLocked":false,"elementsMetadata":[],"slideId":"637895212766499945","enableDocumentContentUpdater":true,"version":"2.0"}]]></TemplafySlideTemplateConfiguration>
</file>

<file path=customXml/item22.xml><?xml version="1.0" encoding="utf-8"?>
<TemplafySlideTemplateConfiguration><![CDATA[{"slideVersion":1,"isValidatorEnabled":false,"isLocked":false,"elementsMetadata":[],"slideId":"637895212765534807","enableDocumentContentUpdater":true,"version":"2.0"}]]></TemplafySlideTemplateConfiguration>
</file>

<file path=customXml/item23.xml><?xml version="1.0" encoding="utf-8"?>
<TemplafySlideFormConfiguration><![CDATA[{"formFields":[],"formDataEntries":[]}]]></TemplafySlideFormConfiguration>
</file>

<file path=customXml/item24.xml><?xml version="1.0" encoding="utf-8"?>
<TemplafySlideTemplateConfiguration><![CDATA[{"slideVersion":1,"isValidatorEnabled":false,"isLocked":false,"elementsMetadata":[],"slideId":"637895212763414289","enableDocumentContentUpdater":true,"version":"2.0"}]]></TemplafySlideTemplateConfiguration>
</file>

<file path=customXml/item25.xml><?xml version="1.0" encoding="utf-8"?>
<TemplafySlideFormConfiguration><![CDATA[{"formFields":[],"formDataEntries":[]}]]></TemplafySlideFormConfiguration>
</file>

<file path=customXml/item26.xml><?xml version="1.0" encoding="utf-8"?>
<TemplafySlideFormConfiguration><![CDATA[{"formFields":[],"formDataEntries":[]}]]></TemplafySlideFormConfiguration>
</file>

<file path=customXml/item27.xml><?xml version="1.0" encoding="utf-8"?>
<TemplafySlideFormConfiguration><![CDATA[{"formFields":[],"formDataEntries":[]}]]></TemplafySlideFormConfiguration>
</file>

<file path=customXml/item28.xml><?xml version="1.0" encoding="utf-8"?>
<TemplafySlideTemplateConfiguration><![CDATA[{"slideVersion":1,"isValidatorEnabled":false,"isLocked":false,"elementsMetadata":[{"elementConfiguration":{"binding":"{{FormatDateTime(Form.Date,Translate(\"Format_CustomD\",UserProfile.DocumentLanguage.Language.Language),UserProfile.DocumentLanguage.Language.Language)}}","disableUpdates":false,"type":"text"},"type":"shape"},{"elementConfiguration":{"binding":"{{Form.Title}}","disableUpdates":false,"type":"text"},"type":"shape"},{"elementConfiguration":{"binding":"{{FormatDateTime(Form.Date,Translate(\"Format_CustomB\",UserProfile.DocumentLanguage.Language.Language),UserProfile.DocumentLanguage.Language.Language)}}","disableUpdates":false,"type":"text"},"type":"shape"},{"elementConfiguration":{"binding":"{{UserProfile.FirstName}} {{UserProfile.LastName}}","disableUpdates":false,"type":"text"},"type":"shape"}],"slideId":"637895212764625798","enableDocumentContentUpdater":true,"version":"2.0"}]]></TemplafySlideTemplateConfiguration>
</file>

<file path=customXml/item29.xml><?xml version="1.0" encoding="utf-8"?>
<TemplafySlideFormConfiguration><![CDATA[{"formFields":[],"formDataEntries":[]}]]></TemplafySlideFormConfiguration>
</file>

<file path=customXml/item3.xml><?xml version="1.0" encoding="utf-8"?>
<TemplafySlideFormConfiguration><![CDATA[{"formFields":[],"formDataEntries":[]}]]></TemplafySlideFormConfiguration>
</file>

<file path=customXml/item30.xml><?xml version="1.0" encoding="utf-8"?>
<TemplafySlideTemplateConfiguration><![CDATA[{"slideVersion":1,"isValidatorEnabled":false,"isLocked":false,"elementsMetadata":[{"elementConfiguration":{"binding":"{{Form.Title}}","disableUpdates":false,"type":"text"},"type":"shape"},{"elementConfiguration":{"binding":"{{FormatDateTime(Form.Date,Translate(\"Format_CustomB\",UserProfile.DocumentLanguage.Language.Language),UserProfile.DocumentLanguage.Language.Language)}}","disableUpdates":false,"type":"text"},"type":"shape"},{"elementConfiguration":{"binding":"{{UserProfile.FirstName}} {{UserProfile.LastName}}","disableUpdates":false,"type":"text"},"type":"shape"}],"slideId":"637895212764127798","enableDocumentContentUpdater":true,"version":"2.0"}]]></TemplafySlideTemplateConfiguration>
</file>

<file path=customXml/item31.xml><?xml version="1.0" encoding="utf-8"?>
<TemplafySlideTemplateConfiguration><![CDATA[{"slideVersion":1,"isValidatorEnabled":false,"isLocked":false,"elementsMetadata":[{"elementConfiguration":{"binding":"{{FormatDateTime(Form.Date,Translate(\"Format_CustomB\",UserProfile.DocumentLanguage.Language.Language),UserProfile.DocumentLanguage.Language.Language)}}","disableUpdates":false,"type":"text"},"type":"shape"}],"slideId":"637895212776919288","enableDocumentContentUpdater":true,"version":"2.0"}]]></TemplafySlideTemplateConfiguration>
</file>

<file path=customXml/item32.xml><?xml version="1.0" encoding="utf-8"?>
<TemplafySlideFormConfiguration><![CDATA[{"formFields":[],"formDataEntries":[]}]]></TemplafySlideFormConfiguration>
</file>

<file path=customXml/item33.xml><?xml version="1.0" encoding="utf-8"?>
<TemplafySlideTemplateConfiguration><![CDATA[{"slideVersion":1,"isValidatorEnabled":false,"isLocked":false,"elementsMetadata":[],"slideId":"637895212768389433","enableDocumentContentUpdater":true,"version":"2.0"}]]></TemplafySlideTemplateConfiguration>
</file>

<file path=customXml/item34.xml><?xml version="1.0" encoding="utf-8"?>
<TemplafySlideTemplateConfiguration><![CDATA[{"slideVersion":1,"isValidatorEnabled":false,"isLocked":false,"elementsMetadata":[],"slideId":"637895212775830233","enableDocumentContentUpdater":true,"version":"2.0"}]]></TemplafySlideTemplateConfiguration>
</file>

<file path=customXml/item35.xml><?xml version="1.0" encoding="utf-8"?>
<TemplafySlideTemplateConfiguration><![CDATA[{"slideVersion":1,"isValidatorEnabled":false,"isLocked":false,"elementsMetadata":[{"elementConfiguration":{"binding":"{{FormatDateTime(Form.Date,Translate(\"Format_CustomB\",UserProfile.DocumentLanguage.Language.Language),UserProfile.DocumentLanguage.Language.Language)}}","disableUpdates":false,"type":"text"},"type":"shape"}],"slideId":"637895212777689127","enableDocumentContentUpdater":true,"version":"2.0"}]]></TemplafySlideTemplateConfiguration>
</file>

<file path=customXml/item36.xml><?xml version="1.0" encoding="utf-8"?>
<TemplafySlideTemplateConfiguration><![CDATA[{"slideVersion":1,"isValidatorEnabled":false,"isLocked":false,"elementsMetadata":[],"slideId":"637895212769158169","enableDocumentContentUpdater":true,"version":"2.0"}]]></TemplafySlideTemplateConfiguration>
</file>

<file path=customXml/item37.xml><?xml version="1.0" encoding="utf-8"?>
<TemplafySlideFormConfiguration><![CDATA[{"formFields":[],"formDataEntries":[]}]]></TemplafySlideFormConfiguration>
</file>

<file path=customXml/item38.xml><?xml version="1.0" encoding="utf-8"?>
<TemplafySlideFormConfiguration><![CDATA[{"formFields":[],"formDataEntries":[]}]]></TemplafySlideFormConfiguration>
</file>

<file path=customXml/item39.xml><?xml version="1.0" encoding="utf-8"?>
<TemplafySlideFormConfiguration><![CDATA[{"formFields":[],"formDataEntries":[]}]]></TemplafySlideFormConfiguration>
</file>

<file path=customXml/item4.xml><?xml version="1.0" encoding="utf-8"?>
<TemplafySlideTemplateConfiguration><![CDATA[{"slideVersion":1,"isValidatorEnabled":false,"isLocked":false,"elementsMetadata":[],"slideId":"637895212775165743","enableDocumentContentUpdater":true,"version":"2.0"}]]></TemplafySlideTemplateConfiguration>
</file>

<file path=customXml/item40.xml><?xml version="1.0" encoding="utf-8"?>
<TemplafySlideFormConfiguration><![CDATA[{"formFields":[],"formDataEntries":[]}]]></TemplafySlideFormConfiguration>
</file>

<file path=customXml/item41.xml><?xml version="1.0" encoding="utf-8"?>
<TemplafySlideFormConfiguration><![CDATA[{"formFields":[],"formDataEntries":[]}]]></TemplafySlideFormConfiguration>
</file>

<file path=customXml/item42.xml><?xml version="1.0" encoding="utf-8"?>
<TemplafySlideTemplateConfiguration><![CDATA[{"slideVersion":1,"isValidatorEnabled":false,"isLocked":false,"elementsMetadata":[{"elementConfiguration":{"binding":"{{FormatDateTime(Form.Date,Translate(\"Format_CustomB\",UserProfile.DocumentLanguage.Language.Language),UserProfile.DocumentLanguage.Language.Language)}}","disableUpdates":false,"type":"text"},"type":"shape"}],"slideId":"637895212778120042","enableDocumentContentUpdater":true,"version":"2.0"}]]></TemplafySlideTemplateConfiguration>
</file>

<file path=customXml/item43.xml><?xml version="1.0" encoding="utf-8"?>
<TemplafySlideFormConfiguration><![CDATA[{"formFields":[],"formDataEntries":[]}]]></TemplafySlideFormConfiguration>
</file>

<file path=customXml/item44.xml><?xml version="1.0" encoding="utf-8"?>
<TemplafySlideFormConfiguration><![CDATA[{"formFields":[],"formDataEntries":[]}]]></TemplafySlideFormConfiguration>
</file>

<file path=customXml/item45.xml><?xml version="1.0" encoding="utf-8"?>
<TemplafySlideFormConfiguration><![CDATA[{"formFields":[],"formDataEntries":[]}]]></TemplafySlideFormConfiguration>
</file>

<file path=customXml/item46.xml><?xml version="1.0" encoding="utf-8"?>
<TemplafySlideTemplateConfiguration><![CDATA[{"slideVersion":1,"isValidatorEnabled":false,"isLocked":false,"elementsMetadata":[],"slideId":"637895212768496778","enableDocumentContentUpdater":true,"version":"2.0"}]]></TemplafySlideTemplateConfiguration>
</file>

<file path=customXml/item47.xml><?xml version="1.0" encoding="utf-8"?>
<TemplafySlideTemplateConfiguration><![CDATA[{"slideVersion":1,"isValidatorEnabled":false,"isLocked":false,"elementsMetadata":[],"slideId":"637895212763163782","enableDocumentContentUpdater":true,"version":"2.0"}]]></TemplafySlideTemplateConfiguration>
</file>

<file path=customXml/item48.xml><?xml version="1.0" encoding="utf-8"?>
<TemplafySlideTemplateConfiguration><![CDATA[{"slideVersion":1,"isValidatorEnabled":false,"isLocked":false,"elementsMetadata":[{"elementConfiguration":{"binding":"{{FormatDateTime(Form.Date,Translate(\"Format_CustomB\",UserProfile.DocumentLanguage.Language.Language),UserProfile.DocumentLanguage.Language.Language)}}","disableUpdates":false,"type":"text"},"type":"shape"}],"slideId":"637895212777499284","enableDocumentContentUpdater":true,"version":"2.0"}]]></TemplafySlideTemplateConfiguration>
</file>

<file path=customXml/item49.xml><?xml version="1.0" encoding="utf-8"?>
<TemplafySlideTemplateConfiguration><![CDATA[{"slideVersion":1,"isValidatorEnabled":false,"isLocked":false,"elementsMetadata":[],"slideId":"637895212763964882","enableDocumentContentUpdater":true,"version":"2.0"}]]></TemplafySlideTemplateConfiguration>
</file>

<file path=customXml/item5.xml><?xml version="1.0" encoding="utf-8"?>
<TemplafySlideFormConfiguration><![CDATA[{"formFields":[],"formDataEntries":[]}]]></TemplafySlideFormConfiguration>
</file>

<file path=customXml/item50.xml><?xml version="1.0" encoding="utf-8"?>
<TemplafySlideTemplateConfiguration><![CDATA[{"slideVersion":1,"isValidatorEnabled":false,"isLocked":false,"elementsMetadata":[],"slideId":"637895212765688229","enableDocumentContentUpdater":true,"version":"2.0"}]]></TemplafySlideTemplateConfiguration>
</file>

<file path=customXml/item51.xml><?xml version="1.0" encoding="utf-8"?>
<TemplafySlideFormConfiguration><![CDATA[{"formFields":[],"formDataEntries":[]}]]></TemplafySlideFormConfiguration>
</file>

<file path=customXml/item52.xml><?xml version="1.0" encoding="utf-8"?>
<TemplafySlideFormConfiguration><![CDATA[{"formFields":[],"formDataEntries":[]}]]></TemplafySlideFormConfiguration>
</file>

<file path=customXml/item53.xml><?xml version="1.0" encoding="utf-8"?>
<TemplafySlideTemplateConfiguration><![CDATA[{"slideVersion":1,"isValidatorEnabled":false,"isLocked":false,"elementsMetadata":[],"slideId":"637895212764090908","enableDocumentContentUpdater":true,"version":"2.0"}]]></TemplafySlideTemplateConfiguration>
</file>

<file path=customXml/item54.xml><?xml version="1.0" encoding="utf-8"?>
<TemplafySlideFormConfiguration><![CDATA[{"formFields":[],"formDataEntries":[]}]]></TemplafySlideFormConfiguration>
</file>

<file path=customXml/item55.xml><?xml version="1.0" encoding="utf-8"?>
<TemplafySlideTemplateConfiguration><![CDATA[{"slideVersion":1,"isValidatorEnabled":false,"isLocked":false,"elementsMetadata":[],"slideId":"637895212774996679","enableDocumentContentUpdater":true,"version":"2.0"}]]></TemplafySlideTemplateConfiguration>
</file>

<file path=customXml/item56.xml><?xml version="1.0" encoding="utf-8"?>
<?mso-contentType ?>
<FormTemplates xmlns="http://schemas.microsoft.com/sharepoint/v3/contenttype/forms">
  <Display>DocumentLibraryForm</Display>
  <Edit>DocumentLibraryForm</Edit>
  <New>DocumentLibraryForm</New>
</FormTemplates>
</file>

<file path=customXml/item57.xml><?xml version="1.0" encoding="utf-8"?>
<TemplafySlideFormConfiguration><![CDATA[{"formFields":[],"formDataEntries":[]}]]></TemplafySlideFormConfiguration>
</file>

<file path=customXml/item58.xml><?xml version="1.0" encoding="utf-8"?>
<TemplafySlideFormConfiguration><![CDATA[{"formFields":[],"formDataEntries":[]}]]></TemplafySlideFormConfiguration>
</file>

<file path=customXml/item59.xml><?xml version="1.0" encoding="utf-8"?>
<TemplafySlideFormConfiguration><![CDATA[{"formFields":[],"formDataEntries":[]}]]></TemplafySlideFormConfiguration>
</file>

<file path=customXml/item6.xml><?xml version="1.0" encoding="utf-8"?>
<TemplafySlideFormConfiguration><![CDATA[{"formFields":[],"formDataEntries":[]}]]></TemplafySlideFormConfiguration>
</file>

<file path=customXml/item60.xml><?xml version="1.0" encoding="utf-8"?>
<TemplafySlideFormConfiguration><![CDATA[{"formFields":[],"formDataEntries":[]}]]></TemplafySlideFormConfiguration>
</file>

<file path=customXml/item61.xml><?xml version="1.0" encoding="utf-8"?>
<TemplafySlideFormConfiguration><![CDATA[{"formFields":[],"formDataEntries":[]}]]></TemplafySlideFormConfiguration>
</file>

<file path=customXml/item6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TaxCatchAll xmlns="22a3f1e7-1ad8-4567-967d-700183da1d1b" xsi:nil="true"/>
    <lcf76f155ced4ddcb4097134ff3c332f xmlns="aacb7df8-672f-46f2-977f-893ce5cef86b">
      <Terms xmlns="http://schemas.microsoft.com/office/infopath/2007/PartnerControls"/>
    </lcf76f155ced4ddcb4097134ff3c332f>
    <_ip_UnifiedCompliancePolicyProperties xmlns="http://schemas.microsoft.com/sharepoint/v3" xsi:nil="true"/>
  </documentManagement>
</p:properties>
</file>

<file path=customXml/item63.xml><?xml version="1.0" encoding="utf-8"?>
<TemplafySlideTemplateConfiguration><![CDATA[{"slideVersion":1,"isValidatorEnabled":false,"isLocked":false,"elementsMetadata":[],"slideId":"637895212765254000","enableDocumentContentUpdater":true,"version":"2.0"}]]></TemplafySlideTemplateConfiguration>
</file>

<file path=customXml/item64.xml><?xml version="1.0" encoding="utf-8"?>
<TemplafySlideFormConfiguration><![CDATA[{"formFields":[],"formDataEntries":[]}]]></TemplafySlideFormConfiguration>
</file>

<file path=customXml/item65.xml><?xml version="1.0" encoding="utf-8"?>
<TemplafySlideFormConfiguration><![CDATA[{"formFields":[],"formDataEntries":[]}]]></TemplafySlideFormConfiguration>
</file>

<file path=customXml/item66.xml><?xml version="1.0" encoding="utf-8"?>
<TemplafySlideFormConfiguration><![CDATA[{"formFields":[],"formDataEntries":[]}]]></TemplafySlideFormConfiguration>
</file>

<file path=customXml/item67.xml><?xml version="1.0" encoding="utf-8"?>
<TemplafySlideTemplateConfiguration><![CDATA[{"slideVersion":1,"isValidatorEnabled":false,"isLocked":false,"elementsMetadata":[],"slideId":"637895212770261450","enableDocumentContentUpdater":true,"version":"2.0"}]]></TemplafySlideTemplateConfiguration>
</file>

<file path=customXml/item68.xml><?xml version="1.0" encoding="utf-8"?>
<TemplafySlideTemplateConfiguration><![CDATA[{"slideVersion":1,"isValidatorEnabled":false,"isLocked":false,"elementsMetadata":[],"slideId":"637895212778692094","enableDocumentContentUpdater":true,"version":"2.0"}]]></TemplafySlideTemplateConfiguration>
</file>

<file path=customXml/item69.xml><?xml version="1.0" encoding="utf-8"?>
<TemplafySlideFormConfiguration><![CDATA[{"formFields":[],"formDataEntries":[]}]]></TemplafySlideFormConfiguration>
</file>

<file path=customXml/item7.xml><?xml version="1.0" encoding="utf-8"?>
<TemplafySlideFormConfiguration><![CDATA[{"formFields":[],"formDataEntries":[]}]]></TemplafySlideFormConfiguration>
</file>

<file path=customXml/item70.xml><?xml version="1.0" encoding="utf-8"?>
<TemplafySlideFormConfiguration><![CDATA[{"formFields":[],"formDataEntries":[]}]]></TemplafySlideFormConfiguration>
</file>

<file path=customXml/item71.xml><?xml version="1.0" encoding="utf-8"?>
<TemplafySlideTemplateConfiguration><![CDATA[{"slideVersion":1,"isValidatorEnabled":false,"isLocked":false,"elementsMetadata":[],"slideId":"637895212778748053","enableDocumentContentUpdater":true,"version":"2.0"}]]></TemplafySlideTemplateConfiguration>
</file>

<file path=customXml/item72.xml><?xml version="1.0" encoding="utf-8"?>
<TemplafySlideFormConfiguration><![CDATA[{"formFields":[],"formDataEntries":[]}]]></TemplafySlideFormConfiguration>
</file>

<file path=customXml/item73.xml><?xml version="1.0" encoding="utf-8"?>
<TemplafySlideTemplateConfiguration><![CDATA[{"slideVersion":1,"isValidatorEnabled":false,"isLocked":false,"elementsMetadata":[],"slideId":"637895212778482953","enableDocumentContentUpdater":true,"version":"2.0"}]]></TemplafySlideTemplateConfiguration>
</file>

<file path=customXml/item74.xml><?xml version="1.0" encoding="utf-8"?>
<TemplafySlideFormConfiguration><![CDATA[{"formFields":[],"formDataEntries":[]}]]></TemplafySlideFormConfiguration>
</file>

<file path=customXml/item75.xml><?xml version="1.0" encoding="utf-8"?>
<TemplafySlideTemplateConfiguration><![CDATA[{"slideVersion":1,"isValidatorEnabled":false,"isLocked":false,"elementsMetadata":[{"elementConfiguration":{"binding":"{{Form.Title}}","disableUpdates":false,"type":"text"},"type":"shape"},{"elementConfiguration":{"binding":"{{FormatDateTime(Form.Date,Translate(\"Format_CustomB\",UserProfile.DocumentLanguage.Language.Language),UserProfile.DocumentLanguage.Language.Language)}}","disableUpdates":false,"type":"text"},"type":"shape"},{"elementConfiguration":{"binding":"{{UserProfile.FirstName}} {{UserProfile.LastName}}","disableUpdates":false,"type":"text"},"type":"shape"}],"slideId":"637895212764537422","enableDocumentContentUpdater":true,"version":"2.0"}]]></TemplafySlideTemplateConfiguration>
</file>

<file path=customXml/item76.xml><?xml version="1.0" encoding="utf-8"?>
<TemplafySlideTemplateConfiguration><![CDATA[{"slideVersion":1,"isValidatorEnabled":false,"isLocked":false,"elementsMetadata":[{"elementConfiguration":{"binding":"{{FormatDateTime(Form.Date,Translate(\"Format_CustomB\",UserProfile.DocumentLanguage.Language.Language),UserProfile.DocumentLanguage.Language.Language)}}","disableUpdates":false,"type":"text"},"type":"shape"}],"slideId":"637895212769780712","enableDocumentContentUpdater":true,"version":"2.0"}]]></TemplafySlideTemplateConfiguration>
</file>

<file path=customXml/item77.xml><?xml version="1.0" encoding="utf-8"?>
<TemplafySlideFormConfiguration><![CDATA[{"formFields":[],"formDataEntries":[]}]]></TemplafySlideFormConfiguration>
</file>

<file path=customXml/item78.xml><?xml version="1.0" encoding="utf-8"?>
<TemplafySlideFormConfiguration><![CDATA[{"formFields":[],"formDataEntries":[]}]]></TemplafySlideFormConfiguration>
</file>

<file path=customXml/item79.xml><?xml version="1.0" encoding="utf-8"?>
<TemplafySlideTemplateConfiguration><![CDATA[{"slideVersion":1,"isValidatorEnabled":false,"isLocked":false,"elementsMetadata":[{"elementConfiguration":{"binding":"{{FormatDateTime(Form.Date,Translate(\"Format_CustomB\",UserProfile.DocumentLanguage.Language.Language),UserProfile.DocumentLanguage.Language.Language)}}","disableUpdates":false,"type":"text"},"type":"shape"}],"slideId":"637895212765876822","enableDocumentContentUpdater":true,"version":"2.0"}]]></TemplafySlideTemplateConfiguration>
</file>

<file path=customXml/item8.xml><?xml version="1.0" encoding="utf-8"?>
<TemplafySlideFormConfiguration><![CDATA[{"formFields":[],"formDataEntries":[]}]]></TemplafySlideFormConfiguration>
</file>

<file path=customXml/item80.xml><?xml version="1.0" encoding="utf-8"?>
<TemplafySlideFormConfiguration><![CDATA[{"formFields":[],"formDataEntries":[]}]]></TemplafySlideFormConfiguration>
</file>

<file path=customXml/item81.xml><?xml version="1.0" encoding="utf-8"?>
<TemplafySlideTemplateConfiguration><![CDATA[{"slideVersion":1,"isValidatorEnabled":false,"isLocked":false,"elementsMetadata":[{"elementConfiguration":{"binding":"{{Form.Title}}","disableUpdates":false,"type":"text"},"type":"shape"},{"elementConfiguration":{"binding":"{{FormatDateTime(Form.Date,Translate(\"Format_CustomB\",UserProfile.DocumentLanguage.Language.Language),UserProfile.DocumentLanguage.Language.Language)}}","disableUpdates":false,"type":"text"},"type":"shape"},{"elementConfiguration":{"binding":"{{UserProfile.FirstName}} {{UserProfile.LastName}}","disableUpdates":false,"type":"text"},"type":"shape"}],"slideId":"637895212765800952","enableDocumentContentUpdater":true,"version":"2.0"}]]></TemplafySlideTemplateConfiguration>
</file>

<file path=customXml/item82.xml><?xml version="1.0" encoding="utf-8"?>
<TemplafySlideFormConfiguration><![CDATA[{"formFields":[],"formDataEntries":[]}]]></TemplafySlideFormConfiguration>
</file>

<file path=customXml/item83.xml><?xml version="1.0" encoding="utf-8"?>
<TemplafySlideFormConfiguration><![CDATA[{"formFields":[],"formDataEntries":[]}]]></TemplafySlideFormConfiguration>
</file>

<file path=customXml/item84.xml><?xml version="1.0" encoding="utf-8"?>
<TemplafySlideFormConfiguration><![CDATA[{"formFields":[],"formDataEntries":[]}]]></TemplafySlideFormConfiguration>
</file>

<file path=customXml/item85.xml><?xml version="1.0" encoding="utf-8"?>
<TemplafySlideFormConfiguration><![CDATA[{"formFields":[],"formDataEntries":[]}]]></TemplafySlideFormConfiguration>
</file>

<file path=customXml/item86.xml><?xml version="1.0" encoding="utf-8"?>
<TemplafySlideTemplateConfiguration><![CDATA[{"slideVersion":1,"isValidatorEnabled":false,"isLocked":false,"elementsMetadata":[],"slideId":"637895212769748844","enableDocumentContentUpdater":true,"version":"2.0"}]]></TemplafySlideTemplateConfiguration>
</file>

<file path=customXml/item87.xml><?xml version="1.0" encoding="utf-8"?>
<TemplafySlideFormConfiguration><![CDATA[{"formFields":[],"formDataEntries":[]}]]></TemplafySlideFormConfiguration>
</file>

<file path=customXml/item88.xml><?xml version="1.0" encoding="utf-8"?>
<TemplafySlideFormConfiguration><![CDATA[{"formFields":[],"formDataEntries":[]}]]></TemplafySlideFormConfiguration>
</file>

<file path=customXml/item89.xml><?xml version="1.0" encoding="utf-8"?>
<TemplafySlideFormConfiguration><![CDATA[{"formFields":[],"formDataEntries":[]}]]></TemplafySlideFormConfiguration>
</file>

<file path=customXml/item9.xml><?xml version="1.0" encoding="utf-8"?>
<TemplafySlideTemplateConfiguration><![CDATA[{"slideVersion":1,"isValidatorEnabled":false,"isLocked":false,"elementsMetadata":[],"slideId":"637895212763176588","enableDocumentContentUpdater":true,"version":"2.0"}]]></TemplafySlideTemplateConfiguration>
</file>

<file path=customXml/item90.xml><?xml version="1.0" encoding="utf-8"?>
<TemplafySlideTemplateConfiguration><![CDATA[{"slideVersion":1,"isValidatorEnabled":false,"isLocked":false,"elementsMetadata":[],"slideId":"637895212763332816","enableDocumentContentUpdater":true,"version":"2.0"}]]></TemplafySlideTemplateConfiguration>
</file>

<file path=customXml/item91.xml><?xml version="1.0" encoding="utf-8"?>
<TemplafySlideTemplateConfiguration><![CDATA[{"slideVersion":1,"isValidatorEnabled":false,"isLocked":false,"elementsMetadata":[],"slideId":"637895212769958978","enableDocumentContentUpdater":true,"version":"2.0"}]]></TemplafySlideTemplateConfiguration>
</file>

<file path=customXml/item92.xml><?xml version="1.0" encoding="utf-8"?>
<TemplafySlideTemplateConfiguration><![CDATA[{"slideVersion":1,"isValidatorEnabled":false,"isLocked":false,"elementsMetadata":[{"elementConfiguration":{"binding":"{{FormatDateTime(Form.Date,Translate(\"Format_CustomB\",UserProfile.DocumentLanguage.Language.Language),UserProfile.DocumentLanguage.Language.Language)}}","disableUpdates":false,"type":"text"},"type":"shape"}],"slideId":"637895212776418576","enableDocumentContentUpdater":true,"version":"2.0"}]]></TemplafySlideTemplateConfiguration>
</file>

<file path=customXml/item93.xml><?xml version="1.0" encoding="utf-8"?>
<TemplafySlideTemplateConfiguration><![CDATA[{"slideVersion":1,"isValidatorEnabled":false,"isLocked":false,"elementsMetadata":[],"slideId":"637895212764229380","enableDocumentContentUpdater":true,"version":"2.0"}]]></TemplafySlideTemplateConfiguration>
</file>

<file path=customXml/item94.xml><?xml version="1.0" encoding="utf-8"?>
<TemplafySlideTemplateConfiguration><![CDATA[{"slideVersion":1,"isValidatorEnabled":false,"isLocked":false,"elementsMetadata":[],"slideId":"637895212776344118","enableDocumentContentUpdater":true,"version":"2.0"}]]></TemplafySlideTemplateConfiguration>
</file>

<file path=customXml/item95.xml><?xml version="1.0" encoding="utf-8"?>
<TemplafySlideFormConfiguration><![CDATA[{"formFields":[],"formDataEntries":[]}]]></TemplafySlideFormConfiguration>
</file>

<file path=customXml/item96.xml><?xml version="1.0" encoding="utf-8"?>
<TemplafySlideFormConfiguration><![CDATA[{"formFields":[],"formDataEntries":[]}]]></TemplafySlideFormConfiguration>
</file>

<file path=customXml/item97.xml><?xml version="1.0" encoding="utf-8"?>
<TemplafySlideTemplateConfiguration><![CDATA[{"slideVersion":1,"isValidatorEnabled":false,"isLocked":false,"elementsMetadata":[{"elementConfiguration":{"binding":"{{FormatDateTime(Form.Date,Translate(\"Format_CustomD\",UserProfile.DocumentLanguage.Language.Language),UserProfile.DocumentLanguage.Language.Language)}}","disableUpdates":false,"type":"text"},"type":"shape"},{"elementConfiguration":{"binding":"{{Form.Title}}","disableUpdates":false,"type":"text"},"type":"shape"},{"elementConfiguration":{"binding":"{{FormatDateTime(Form.Date,Translate(\"Format_CustomB\",UserProfile.DocumentLanguage.Language.Language),UserProfile.DocumentLanguage.Language.Language)}}","disableUpdates":false,"type":"text"},"type":"shape"},{"elementConfiguration":{"binding":"{{UserProfile.FirstName}} {{UserProfile.LastName}}","disableUpdates":false,"type":"text"},"type":"shape"}],"slideId":"637895212770410864","enableDocumentContentUpdater":true,"version":"2.0"}]]></TemplafySlideTemplateConfiguration>
</file>

<file path=customXml/item98.xml><?xml version="1.0" encoding="utf-8"?>
<TemplafySlideFormConfiguration><![CDATA[{"formFields":[],"formDataEntries":[]}]]></TemplafySlideFormConfiguration>
</file>

<file path=customXml/item99.xml><?xml version="1.0" encoding="utf-8"?>
<TemplafySlideFormConfiguration><![CDATA[{"formFields":[],"formDataEntries":[]}]]></TemplafySlideFormConfiguration>
</file>

<file path=customXml/itemProps1.xml><?xml version="1.0" encoding="utf-8"?>
<ds:datastoreItem xmlns:ds="http://schemas.openxmlformats.org/officeDocument/2006/customXml" ds:itemID="{9B855F6F-BE2E-4CEF-9C78-11791AC4E12E}">
  <ds:schemaRefs/>
</ds:datastoreItem>
</file>

<file path=customXml/itemProps10.xml><?xml version="1.0" encoding="utf-8"?>
<ds:datastoreItem xmlns:ds="http://schemas.openxmlformats.org/officeDocument/2006/customXml" ds:itemID="{722FED21-D0D0-4230-9453-B8738BC0E6EA}">
  <ds:schemaRefs/>
</ds:datastoreItem>
</file>

<file path=customXml/itemProps100.xml><?xml version="1.0" encoding="utf-8"?>
<ds:datastoreItem xmlns:ds="http://schemas.openxmlformats.org/officeDocument/2006/customXml" ds:itemID="{FBD3E95E-2ACA-423B-A917-64AAA265E166}">
  <ds:schemaRefs/>
</ds:datastoreItem>
</file>

<file path=customXml/itemProps101.xml><?xml version="1.0" encoding="utf-8"?>
<ds:datastoreItem xmlns:ds="http://schemas.openxmlformats.org/officeDocument/2006/customXml" ds:itemID="{16ACD6EF-46AC-4C33-9BDF-6FFAE8D684A8}">
  <ds:schemaRefs/>
</ds:datastoreItem>
</file>

<file path=customXml/itemProps102.xml><?xml version="1.0" encoding="utf-8"?>
<ds:datastoreItem xmlns:ds="http://schemas.openxmlformats.org/officeDocument/2006/customXml" ds:itemID="{59C36C83-0717-413A-ADED-5EEEDB6E8E2A}">
  <ds:schemaRefs/>
</ds:datastoreItem>
</file>

<file path=customXml/itemProps103.xml><?xml version="1.0" encoding="utf-8"?>
<ds:datastoreItem xmlns:ds="http://schemas.openxmlformats.org/officeDocument/2006/customXml" ds:itemID="{31F9C73A-AE4B-436A-9410-823333AEE939}">
  <ds:schemaRefs/>
</ds:datastoreItem>
</file>

<file path=customXml/itemProps104.xml><?xml version="1.0" encoding="utf-8"?>
<ds:datastoreItem xmlns:ds="http://schemas.openxmlformats.org/officeDocument/2006/customXml" ds:itemID="{A4B85F01-DF05-43AF-B336-11C675B220BE}">
  <ds:schemaRefs/>
</ds:datastoreItem>
</file>

<file path=customXml/itemProps105.xml><?xml version="1.0" encoding="utf-8"?>
<ds:datastoreItem xmlns:ds="http://schemas.openxmlformats.org/officeDocument/2006/customXml" ds:itemID="{3E4090B9-49F7-4E9B-8C25-F51C948954DA}">
  <ds:schemaRefs/>
</ds:datastoreItem>
</file>

<file path=customXml/itemProps106.xml><?xml version="1.0" encoding="utf-8"?>
<ds:datastoreItem xmlns:ds="http://schemas.openxmlformats.org/officeDocument/2006/customXml" ds:itemID="{77CC722D-4122-4CB6-AF3F-A71E0D250BF4}">
  <ds:schemaRefs/>
</ds:datastoreItem>
</file>

<file path=customXml/itemProps107.xml><?xml version="1.0" encoding="utf-8"?>
<ds:datastoreItem xmlns:ds="http://schemas.openxmlformats.org/officeDocument/2006/customXml" ds:itemID="{D02C9EEE-0D0A-42AB-B77F-0C52BF36E2E3}">
  <ds:schemaRefs/>
</ds:datastoreItem>
</file>

<file path=customXml/itemProps108.xml><?xml version="1.0" encoding="utf-8"?>
<ds:datastoreItem xmlns:ds="http://schemas.openxmlformats.org/officeDocument/2006/customXml" ds:itemID="{B90EE5CD-AC5A-4BC3-986C-9FBD182CF0A8}">
  <ds:schemaRefs/>
</ds:datastoreItem>
</file>

<file path=customXml/itemProps109.xml><?xml version="1.0" encoding="utf-8"?>
<ds:datastoreItem xmlns:ds="http://schemas.openxmlformats.org/officeDocument/2006/customXml" ds:itemID="{2549C589-6232-4DA0-BBD6-C99A356CB610}">
  <ds:schemaRefs/>
</ds:datastoreItem>
</file>

<file path=customXml/itemProps11.xml><?xml version="1.0" encoding="utf-8"?>
<ds:datastoreItem xmlns:ds="http://schemas.openxmlformats.org/officeDocument/2006/customXml" ds:itemID="{07688789-9B3D-47E8-AF0E-0F392C579224}">
  <ds:schemaRefs/>
</ds:datastoreItem>
</file>

<file path=customXml/itemProps110.xml><?xml version="1.0" encoding="utf-8"?>
<ds:datastoreItem xmlns:ds="http://schemas.openxmlformats.org/officeDocument/2006/customXml" ds:itemID="{4C962332-C21C-48D3-90B5-FC350E16FFD1}">
  <ds:schemaRefs/>
</ds:datastoreItem>
</file>

<file path=customXml/itemProps111.xml><?xml version="1.0" encoding="utf-8"?>
<ds:datastoreItem xmlns:ds="http://schemas.openxmlformats.org/officeDocument/2006/customXml" ds:itemID="{C508F5D4-92E9-45BA-AC03-E75C40869161}">
  <ds:schemaRefs/>
</ds:datastoreItem>
</file>

<file path=customXml/itemProps112.xml><?xml version="1.0" encoding="utf-8"?>
<ds:datastoreItem xmlns:ds="http://schemas.openxmlformats.org/officeDocument/2006/customXml" ds:itemID="{9F448662-57D3-4C4F-A949-52DDDAA23EFA}">
  <ds:schemaRefs/>
</ds:datastoreItem>
</file>

<file path=customXml/itemProps113.xml><?xml version="1.0" encoding="utf-8"?>
<ds:datastoreItem xmlns:ds="http://schemas.openxmlformats.org/officeDocument/2006/customXml" ds:itemID="{4F005E34-2A07-46BD-ACD1-9CCDB826376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aacb7df8-672f-46f2-977f-893ce5cef86b"/>
    <ds:schemaRef ds:uri="22a3f1e7-1ad8-4567-967d-700183da1d1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114.xml><?xml version="1.0" encoding="utf-8"?>
<ds:datastoreItem xmlns:ds="http://schemas.openxmlformats.org/officeDocument/2006/customXml" ds:itemID="{7FF3474F-BA73-45C8-B422-CD78C10BF75A}">
  <ds:schemaRefs/>
</ds:datastoreItem>
</file>

<file path=customXml/itemProps115.xml><?xml version="1.0" encoding="utf-8"?>
<ds:datastoreItem xmlns:ds="http://schemas.openxmlformats.org/officeDocument/2006/customXml" ds:itemID="{B830A117-D48D-4416-8440-AB749FB27A80}">
  <ds:schemaRefs/>
</ds:datastoreItem>
</file>

<file path=customXml/itemProps116.xml><?xml version="1.0" encoding="utf-8"?>
<ds:datastoreItem xmlns:ds="http://schemas.openxmlformats.org/officeDocument/2006/customXml" ds:itemID="{2D72E70D-32CE-4A45-B223-BF3F2441BEE5}">
  <ds:schemaRefs/>
</ds:datastoreItem>
</file>

<file path=customXml/itemProps117.xml><?xml version="1.0" encoding="utf-8"?>
<ds:datastoreItem xmlns:ds="http://schemas.openxmlformats.org/officeDocument/2006/customXml" ds:itemID="{20901B6D-E38C-48F6-AC91-A5A03CAC8D78}">
  <ds:schemaRefs/>
</ds:datastoreItem>
</file>

<file path=customXml/itemProps118.xml><?xml version="1.0" encoding="utf-8"?>
<ds:datastoreItem xmlns:ds="http://schemas.openxmlformats.org/officeDocument/2006/customXml" ds:itemID="{20C60467-6FF5-415D-B8FC-0D5666609C32}">
  <ds:schemaRefs/>
</ds:datastoreItem>
</file>

<file path=customXml/itemProps119.xml><?xml version="1.0" encoding="utf-8"?>
<ds:datastoreItem xmlns:ds="http://schemas.openxmlformats.org/officeDocument/2006/customXml" ds:itemID="{68307909-D7E0-4186-BD30-E5CF87FBA45F}">
  <ds:schemaRefs/>
</ds:datastoreItem>
</file>

<file path=customXml/itemProps12.xml><?xml version="1.0" encoding="utf-8"?>
<ds:datastoreItem xmlns:ds="http://schemas.openxmlformats.org/officeDocument/2006/customXml" ds:itemID="{2F12928F-7B3E-43FD-B7DD-4B1301B296AA}">
  <ds:schemaRefs/>
</ds:datastoreItem>
</file>

<file path=customXml/itemProps120.xml><?xml version="1.0" encoding="utf-8"?>
<ds:datastoreItem xmlns:ds="http://schemas.openxmlformats.org/officeDocument/2006/customXml" ds:itemID="{944A27F9-F9F0-4CDA-B877-9A52132693DA}">
  <ds:schemaRefs/>
</ds:datastoreItem>
</file>

<file path=customXml/itemProps121.xml><?xml version="1.0" encoding="utf-8"?>
<ds:datastoreItem xmlns:ds="http://schemas.openxmlformats.org/officeDocument/2006/customXml" ds:itemID="{1C1DD516-0279-48DB-80AB-EFBD126E3F13}">
  <ds:schemaRefs/>
</ds:datastoreItem>
</file>

<file path=customXml/itemProps122.xml><?xml version="1.0" encoding="utf-8"?>
<ds:datastoreItem xmlns:ds="http://schemas.openxmlformats.org/officeDocument/2006/customXml" ds:itemID="{E41F4CE5-8F7D-44C1-85BC-93BBC14E37E5}">
  <ds:schemaRefs/>
</ds:datastoreItem>
</file>

<file path=customXml/itemProps123.xml><?xml version="1.0" encoding="utf-8"?>
<ds:datastoreItem xmlns:ds="http://schemas.openxmlformats.org/officeDocument/2006/customXml" ds:itemID="{0F677E9C-DB7F-4683-AC6F-B38E48BAB67E}">
  <ds:schemaRefs/>
</ds:datastoreItem>
</file>

<file path=customXml/itemProps124.xml><?xml version="1.0" encoding="utf-8"?>
<ds:datastoreItem xmlns:ds="http://schemas.openxmlformats.org/officeDocument/2006/customXml" ds:itemID="{487DB98B-D513-4140-8052-EF7896197015}">
  <ds:schemaRefs/>
</ds:datastoreItem>
</file>

<file path=customXml/itemProps125.xml><?xml version="1.0" encoding="utf-8"?>
<ds:datastoreItem xmlns:ds="http://schemas.openxmlformats.org/officeDocument/2006/customXml" ds:itemID="{37396126-8FC4-4721-9E4F-1A39A873EEDB}">
  <ds:schemaRefs/>
</ds:datastoreItem>
</file>

<file path=customXml/itemProps126.xml><?xml version="1.0" encoding="utf-8"?>
<ds:datastoreItem xmlns:ds="http://schemas.openxmlformats.org/officeDocument/2006/customXml" ds:itemID="{8C5C36EE-F366-4E53-BFEF-53E70D6B4D77}">
  <ds:schemaRefs/>
</ds:datastoreItem>
</file>

<file path=customXml/itemProps127.xml><?xml version="1.0" encoding="utf-8"?>
<ds:datastoreItem xmlns:ds="http://schemas.openxmlformats.org/officeDocument/2006/customXml" ds:itemID="{6F6C9620-4AFB-40A1-B2C4-03663733322E}">
  <ds:schemaRefs/>
</ds:datastoreItem>
</file>

<file path=customXml/itemProps128.xml><?xml version="1.0" encoding="utf-8"?>
<ds:datastoreItem xmlns:ds="http://schemas.openxmlformats.org/officeDocument/2006/customXml" ds:itemID="{06373477-D5C1-4C7E-B393-7F5537AC6E3C}">
  <ds:schemaRefs/>
</ds:datastoreItem>
</file>

<file path=customXml/itemProps129.xml><?xml version="1.0" encoding="utf-8"?>
<ds:datastoreItem xmlns:ds="http://schemas.openxmlformats.org/officeDocument/2006/customXml" ds:itemID="{559E2D4B-E4D6-48AB-823C-462EE0C0FEF2}">
  <ds:schemaRefs/>
</ds:datastoreItem>
</file>

<file path=customXml/itemProps13.xml><?xml version="1.0" encoding="utf-8"?>
<ds:datastoreItem xmlns:ds="http://schemas.openxmlformats.org/officeDocument/2006/customXml" ds:itemID="{1194886A-28AB-4361-88C7-1ACFFBF87DED}">
  <ds:schemaRefs/>
</ds:datastoreItem>
</file>

<file path=customXml/itemProps130.xml><?xml version="1.0" encoding="utf-8"?>
<ds:datastoreItem xmlns:ds="http://schemas.openxmlformats.org/officeDocument/2006/customXml" ds:itemID="{9DA11B5C-FD2E-4AF6-957C-2F2D3EFFB8EC}">
  <ds:schemaRefs/>
</ds:datastoreItem>
</file>

<file path=customXml/itemProps131.xml><?xml version="1.0" encoding="utf-8"?>
<ds:datastoreItem xmlns:ds="http://schemas.openxmlformats.org/officeDocument/2006/customXml" ds:itemID="{9B358F60-88B5-43A0-A0A2-E7B55B61A83A}">
  <ds:schemaRefs/>
</ds:datastoreItem>
</file>

<file path=customXml/itemProps132.xml><?xml version="1.0" encoding="utf-8"?>
<ds:datastoreItem xmlns:ds="http://schemas.openxmlformats.org/officeDocument/2006/customXml" ds:itemID="{D05EA773-69D1-47BB-8925-6B5D8207D87F}">
  <ds:schemaRefs/>
</ds:datastoreItem>
</file>

<file path=customXml/itemProps133.xml><?xml version="1.0" encoding="utf-8"?>
<ds:datastoreItem xmlns:ds="http://schemas.openxmlformats.org/officeDocument/2006/customXml" ds:itemID="{0608C83C-E9F4-4131-B3BF-B2302284542A}">
  <ds:schemaRefs/>
</ds:datastoreItem>
</file>

<file path=customXml/itemProps134.xml><?xml version="1.0" encoding="utf-8"?>
<ds:datastoreItem xmlns:ds="http://schemas.openxmlformats.org/officeDocument/2006/customXml" ds:itemID="{0A865747-660E-4EDE-846D-E2FA0390F6F7}">
  <ds:schemaRefs/>
</ds:datastoreItem>
</file>

<file path=customXml/itemProps135.xml><?xml version="1.0" encoding="utf-8"?>
<ds:datastoreItem xmlns:ds="http://schemas.openxmlformats.org/officeDocument/2006/customXml" ds:itemID="{BA3EB993-5D52-4A6F-A010-B5D4DD773A49}">
  <ds:schemaRefs/>
</ds:datastoreItem>
</file>

<file path=customXml/itemProps136.xml><?xml version="1.0" encoding="utf-8"?>
<ds:datastoreItem xmlns:ds="http://schemas.openxmlformats.org/officeDocument/2006/customXml" ds:itemID="{D1A6D936-962C-427C-AF66-B4ABF369D4A1}">
  <ds:schemaRefs/>
</ds:datastoreItem>
</file>

<file path=customXml/itemProps137.xml><?xml version="1.0" encoding="utf-8"?>
<ds:datastoreItem xmlns:ds="http://schemas.openxmlformats.org/officeDocument/2006/customXml" ds:itemID="{E829EA0F-74C1-4F9E-B01D-F461AE0604EE}">
  <ds:schemaRefs/>
</ds:datastoreItem>
</file>

<file path=customXml/itemProps138.xml><?xml version="1.0" encoding="utf-8"?>
<ds:datastoreItem xmlns:ds="http://schemas.openxmlformats.org/officeDocument/2006/customXml" ds:itemID="{1E8F03FD-B6AD-49FF-BCBE-9672BA51E302}">
  <ds:schemaRefs/>
</ds:datastoreItem>
</file>

<file path=customXml/itemProps139.xml><?xml version="1.0" encoding="utf-8"?>
<ds:datastoreItem xmlns:ds="http://schemas.openxmlformats.org/officeDocument/2006/customXml" ds:itemID="{F6497927-448D-494A-BF95-4FC514089228}">
  <ds:schemaRefs/>
</ds:datastoreItem>
</file>

<file path=customXml/itemProps14.xml><?xml version="1.0" encoding="utf-8"?>
<ds:datastoreItem xmlns:ds="http://schemas.openxmlformats.org/officeDocument/2006/customXml" ds:itemID="{374D614B-3EBC-4073-B9CB-4DEE9700230C}">
  <ds:schemaRefs/>
</ds:datastoreItem>
</file>

<file path=customXml/itemProps140.xml><?xml version="1.0" encoding="utf-8"?>
<ds:datastoreItem xmlns:ds="http://schemas.openxmlformats.org/officeDocument/2006/customXml" ds:itemID="{70548B73-159B-483F-9E2B-0348FD69F530}">
  <ds:schemaRefs/>
</ds:datastoreItem>
</file>

<file path=customXml/itemProps141.xml><?xml version="1.0" encoding="utf-8"?>
<ds:datastoreItem xmlns:ds="http://schemas.openxmlformats.org/officeDocument/2006/customXml" ds:itemID="{36A47A80-A390-4114-929C-42EC049112DD}">
  <ds:schemaRefs/>
</ds:datastoreItem>
</file>

<file path=customXml/itemProps142.xml><?xml version="1.0" encoding="utf-8"?>
<ds:datastoreItem xmlns:ds="http://schemas.openxmlformats.org/officeDocument/2006/customXml" ds:itemID="{C9ABCDD0-A81F-4475-9E3C-A897A099EF48}">
  <ds:schemaRefs/>
</ds:datastoreItem>
</file>

<file path=customXml/itemProps143.xml><?xml version="1.0" encoding="utf-8"?>
<ds:datastoreItem xmlns:ds="http://schemas.openxmlformats.org/officeDocument/2006/customXml" ds:itemID="{6596EE34-48FF-4F52-A47F-DD8C17A01673}">
  <ds:schemaRefs/>
</ds:datastoreItem>
</file>

<file path=customXml/itemProps144.xml><?xml version="1.0" encoding="utf-8"?>
<ds:datastoreItem xmlns:ds="http://schemas.openxmlformats.org/officeDocument/2006/customXml" ds:itemID="{4E8B741E-E564-47A1-B553-B0C7EACAB72B}">
  <ds:schemaRefs/>
</ds:datastoreItem>
</file>

<file path=customXml/itemProps145.xml><?xml version="1.0" encoding="utf-8"?>
<ds:datastoreItem xmlns:ds="http://schemas.openxmlformats.org/officeDocument/2006/customXml" ds:itemID="{777C7ED9-27C2-4C7E-9107-20D002AFACB1}">
  <ds:schemaRefs/>
</ds:datastoreItem>
</file>

<file path=customXml/itemProps15.xml><?xml version="1.0" encoding="utf-8"?>
<ds:datastoreItem xmlns:ds="http://schemas.openxmlformats.org/officeDocument/2006/customXml" ds:itemID="{818FC7FD-774E-4470-9443-50DF1E93C0A0}">
  <ds:schemaRefs/>
</ds:datastoreItem>
</file>

<file path=customXml/itemProps16.xml><?xml version="1.0" encoding="utf-8"?>
<ds:datastoreItem xmlns:ds="http://schemas.openxmlformats.org/officeDocument/2006/customXml" ds:itemID="{975AA8D0-F948-4966-B9E7-E6ECFD046B05}">
  <ds:schemaRefs/>
</ds:datastoreItem>
</file>

<file path=customXml/itemProps17.xml><?xml version="1.0" encoding="utf-8"?>
<ds:datastoreItem xmlns:ds="http://schemas.openxmlformats.org/officeDocument/2006/customXml" ds:itemID="{EA4C0E94-BB73-4B8D-8706-0E22CDAE55DF}">
  <ds:schemaRefs/>
</ds:datastoreItem>
</file>

<file path=customXml/itemProps18.xml><?xml version="1.0" encoding="utf-8"?>
<ds:datastoreItem xmlns:ds="http://schemas.openxmlformats.org/officeDocument/2006/customXml" ds:itemID="{C1250413-5545-4669-A877-5FF7795AA310}">
  <ds:schemaRefs/>
</ds:datastoreItem>
</file>

<file path=customXml/itemProps19.xml><?xml version="1.0" encoding="utf-8"?>
<ds:datastoreItem xmlns:ds="http://schemas.openxmlformats.org/officeDocument/2006/customXml" ds:itemID="{D0ED96CB-F989-4E31-BB25-DBBDE3428BA3}">
  <ds:schemaRefs/>
</ds:datastoreItem>
</file>

<file path=customXml/itemProps2.xml><?xml version="1.0" encoding="utf-8"?>
<ds:datastoreItem xmlns:ds="http://schemas.openxmlformats.org/officeDocument/2006/customXml" ds:itemID="{0D75282C-75C5-411F-997A-8E06D039734E}">
  <ds:schemaRefs/>
</ds:datastoreItem>
</file>

<file path=customXml/itemProps20.xml><?xml version="1.0" encoding="utf-8"?>
<ds:datastoreItem xmlns:ds="http://schemas.openxmlformats.org/officeDocument/2006/customXml" ds:itemID="{210910AE-07BE-4C3F-9B81-20EEA604D52C}">
  <ds:schemaRefs/>
</ds:datastoreItem>
</file>

<file path=customXml/itemProps21.xml><?xml version="1.0" encoding="utf-8"?>
<ds:datastoreItem xmlns:ds="http://schemas.openxmlformats.org/officeDocument/2006/customXml" ds:itemID="{CC303DCA-0DFF-4325-99DA-79AE3540E19D}">
  <ds:schemaRefs/>
</ds:datastoreItem>
</file>

<file path=customXml/itemProps22.xml><?xml version="1.0" encoding="utf-8"?>
<ds:datastoreItem xmlns:ds="http://schemas.openxmlformats.org/officeDocument/2006/customXml" ds:itemID="{CF67192E-BA59-4827-B4E1-340412718F06}">
  <ds:schemaRefs/>
</ds:datastoreItem>
</file>

<file path=customXml/itemProps23.xml><?xml version="1.0" encoding="utf-8"?>
<ds:datastoreItem xmlns:ds="http://schemas.openxmlformats.org/officeDocument/2006/customXml" ds:itemID="{5D30DD2E-26F8-452E-8588-9B2E374694A9}">
  <ds:schemaRefs/>
</ds:datastoreItem>
</file>

<file path=customXml/itemProps24.xml><?xml version="1.0" encoding="utf-8"?>
<ds:datastoreItem xmlns:ds="http://schemas.openxmlformats.org/officeDocument/2006/customXml" ds:itemID="{4E337CE1-E61C-48FC-B1F5-9EA38DCCEFAC}">
  <ds:schemaRefs/>
</ds:datastoreItem>
</file>

<file path=customXml/itemProps25.xml><?xml version="1.0" encoding="utf-8"?>
<ds:datastoreItem xmlns:ds="http://schemas.openxmlformats.org/officeDocument/2006/customXml" ds:itemID="{29DB9AF3-5DCF-44FD-B7B4-060513F0E8BD}">
  <ds:schemaRefs/>
</ds:datastoreItem>
</file>

<file path=customXml/itemProps26.xml><?xml version="1.0" encoding="utf-8"?>
<ds:datastoreItem xmlns:ds="http://schemas.openxmlformats.org/officeDocument/2006/customXml" ds:itemID="{F22E2C99-05C4-4F6C-BCFE-CBD7D27D96B4}">
  <ds:schemaRefs/>
</ds:datastoreItem>
</file>

<file path=customXml/itemProps27.xml><?xml version="1.0" encoding="utf-8"?>
<ds:datastoreItem xmlns:ds="http://schemas.openxmlformats.org/officeDocument/2006/customXml" ds:itemID="{66A755A0-660E-435D-B10F-F708EB37275D}">
  <ds:schemaRefs/>
</ds:datastoreItem>
</file>

<file path=customXml/itemProps28.xml><?xml version="1.0" encoding="utf-8"?>
<ds:datastoreItem xmlns:ds="http://schemas.openxmlformats.org/officeDocument/2006/customXml" ds:itemID="{6DD2B051-E529-4DE5-AE66-15449B9211BD}">
  <ds:schemaRefs/>
</ds:datastoreItem>
</file>

<file path=customXml/itemProps29.xml><?xml version="1.0" encoding="utf-8"?>
<ds:datastoreItem xmlns:ds="http://schemas.openxmlformats.org/officeDocument/2006/customXml" ds:itemID="{041EBFA7-C51B-476C-ACFA-D5468FB89E6A}">
  <ds:schemaRefs/>
</ds:datastoreItem>
</file>

<file path=customXml/itemProps3.xml><?xml version="1.0" encoding="utf-8"?>
<ds:datastoreItem xmlns:ds="http://schemas.openxmlformats.org/officeDocument/2006/customXml" ds:itemID="{F24B9A61-7115-4A85-9165-7744C594B9E2}">
  <ds:schemaRefs/>
</ds:datastoreItem>
</file>

<file path=customXml/itemProps30.xml><?xml version="1.0" encoding="utf-8"?>
<ds:datastoreItem xmlns:ds="http://schemas.openxmlformats.org/officeDocument/2006/customXml" ds:itemID="{930969AD-945E-4A4D-A6D8-7B532B28AD36}">
  <ds:schemaRefs/>
</ds:datastoreItem>
</file>

<file path=customXml/itemProps31.xml><?xml version="1.0" encoding="utf-8"?>
<ds:datastoreItem xmlns:ds="http://schemas.openxmlformats.org/officeDocument/2006/customXml" ds:itemID="{3A22E859-03F2-4FA4-A0E0-6940011DF13E}">
  <ds:schemaRefs/>
</ds:datastoreItem>
</file>

<file path=customXml/itemProps32.xml><?xml version="1.0" encoding="utf-8"?>
<ds:datastoreItem xmlns:ds="http://schemas.openxmlformats.org/officeDocument/2006/customXml" ds:itemID="{1E358739-61BF-47D1-BE67-BC899072E311}">
  <ds:schemaRefs/>
</ds:datastoreItem>
</file>

<file path=customXml/itemProps33.xml><?xml version="1.0" encoding="utf-8"?>
<ds:datastoreItem xmlns:ds="http://schemas.openxmlformats.org/officeDocument/2006/customXml" ds:itemID="{51A6E726-63D8-479E-97C1-2E262F58F262}">
  <ds:schemaRefs/>
</ds:datastoreItem>
</file>

<file path=customXml/itemProps34.xml><?xml version="1.0" encoding="utf-8"?>
<ds:datastoreItem xmlns:ds="http://schemas.openxmlformats.org/officeDocument/2006/customXml" ds:itemID="{C1B24424-6708-4593-98BA-D73C81C8FBEB}">
  <ds:schemaRefs/>
</ds:datastoreItem>
</file>

<file path=customXml/itemProps35.xml><?xml version="1.0" encoding="utf-8"?>
<ds:datastoreItem xmlns:ds="http://schemas.openxmlformats.org/officeDocument/2006/customXml" ds:itemID="{26E4F0B2-D5A4-4ADB-AA8D-E481E84263CA}">
  <ds:schemaRefs/>
</ds:datastoreItem>
</file>

<file path=customXml/itemProps36.xml><?xml version="1.0" encoding="utf-8"?>
<ds:datastoreItem xmlns:ds="http://schemas.openxmlformats.org/officeDocument/2006/customXml" ds:itemID="{756805EB-8E93-4619-9166-02CB6DFFA8CD}">
  <ds:schemaRefs/>
</ds:datastoreItem>
</file>

<file path=customXml/itemProps37.xml><?xml version="1.0" encoding="utf-8"?>
<ds:datastoreItem xmlns:ds="http://schemas.openxmlformats.org/officeDocument/2006/customXml" ds:itemID="{C7D4B1CF-D92C-4C95-92B1-AA9E88704CEB}">
  <ds:schemaRefs/>
</ds:datastoreItem>
</file>

<file path=customXml/itemProps38.xml><?xml version="1.0" encoding="utf-8"?>
<ds:datastoreItem xmlns:ds="http://schemas.openxmlformats.org/officeDocument/2006/customXml" ds:itemID="{9D6A7BC1-FE0B-4149-8B66-2C2A44499A39}">
  <ds:schemaRefs/>
</ds:datastoreItem>
</file>

<file path=customXml/itemProps39.xml><?xml version="1.0" encoding="utf-8"?>
<ds:datastoreItem xmlns:ds="http://schemas.openxmlformats.org/officeDocument/2006/customXml" ds:itemID="{033C7D28-8A6C-4C90-AE72-0B2F100E517C}">
  <ds:schemaRefs/>
</ds:datastoreItem>
</file>

<file path=customXml/itemProps4.xml><?xml version="1.0" encoding="utf-8"?>
<ds:datastoreItem xmlns:ds="http://schemas.openxmlformats.org/officeDocument/2006/customXml" ds:itemID="{5BF8B6DE-916F-489A-8233-70183BF2C8FD}">
  <ds:schemaRefs/>
</ds:datastoreItem>
</file>

<file path=customXml/itemProps40.xml><?xml version="1.0" encoding="utf-8"?>
<ds:datastoreItem xmlns:ds="http://schemas.openxmlformats.org/officeDocument/2006/customXml" ds:itemID="{0AAB74B2-BD73-402C-A928-7C4D9DB2B58A}">
  <ds:schemaRefs/>
</ds:datastoreItem>
</file>

<file path=customXml/itemProps41.xml><?xml version="1.0" encoding="utf-8"?>
<ds:datastoreItem xmlns:ds="http://schemas.openxmlformats.org/officeDocument/2006/customXml" ds:itemID="{5D8547C8-CD27-41CD-89C2-88417E4CC937}">
  <ds:schemaRefs/>
</ds:datastoreItem>
</file>

<file path=customXml/itemProps42.xml><?xml version="1.0" encoding="utf-8"?>
<ds:datastoreItem xmlns:ds="http://schemas.openxmlformats.org/officeDocument/2006/customXml" ds:itemID="{24C26930-7A7F-4560-9EF7-E4C4ECD088B2}">
  <ds:schemaRefs/>
</ds:datastoreItem>
</file>

<file path=customXml/itemProps43.xml><?xml version="1.0" encoding="utf-8"?>
<ds:datastoreItem xmlns:ds="http://schemas.openxmlformats.org/officeDocument/2006/customXml" ds:itemID="{0C74926C-CD7F-4F37-908B-B50DC6322B0F}">
  <ds:schemaRefs/>
</ds:datastoreItem>
</file>

<file path=customXml/itemProps44.xml><?xml version="1.0" encoding="utf-8"?>
<ds:datastoreItem xmlns:ds="http://schemas.openxmlformats.org/officeDocument/2006/customXml" ds:itemID="{A4E3401F-F473-4E00-A2C4-A71355F209C7}">
  <ds:schemaRefs/>
</ds:datastoreItem>
</file>

<file path=customXml/itemProps45.xml><?xml version="1.0" encoding="utf-8"?>
<ds:datastoreItem xmlns:ds="http://schemas.openxmlformats.org/officeDocument/2006/customXml" ds:itemID="{28444BDC-5BCB-4785-A655-3A1396A68D10}">
  <ds:schemaRefs/>
</ds:datastoreItem>
</file>

<file path=customXml/itemProps46.xml><?xml version="1.0" encoding="utf-8"?>
<ds:datastoreItem xmlns:ds="http://schemas.openxmlformats.org/officeDocument/2006/customXml" ds:itemID="{8B91E95F-11B4-4A54-983F-CF584943E7B2}">
  <ds:schemaRefs/>
</ds:datastoreItem>
</file>

<file path=customXml/itemProps47.xml><?xml version="1.0" encoding="utf-8"?>
<ds:datastoreItem xmlns:ds="http://schemas.openxmlformats.org/officeDocument/2006/customXml" ds:itemID="{A5FD646C-E1C0-4BCF-9789-B00BDF740159}">
  <ds:schemaRefs/>
</ds:datastoreItem>
</file>

<file path=customXml/itemProps48.xml><?xml version="1.0" encoding="utf-8"?>
<ds:datastoreItem xmlns:ds="http://schemas.openxmlformats.org/officeDocument/2006/customXml" ds:itemID="{FE78D856-66DF-4796-A2F3-3FB4E62BB0EE}">
  <ds:schemaRefs/>
</ds:datastoreItem>
</file>

<file path=customXml/itemProps49.xml><?xml version="1.0" encoding="utf-8"?>
<ds:datastoreItem xmlns:ds="http://schemas.openxmlformats.org/officeDocument/2006/customXml" ds:itemID="{E520F41C-56B5-4087-8C29-73C82B93C493}">
  <ds:schemaRefs/>
</ds:datastoreItem>
</file>

<file path=customXml/itemProps5.xml><?xml version="1.0" encoding="utf-8"?>
<ds:datastoreItem xmlns:ds="http://schemas.openxmlformats.org/officeDocument/2006/customXml" ds:itemID="{47795438-CEF8-41D3-AA80-5D06A5E6BF01}">
  <ds:schemaRefs/>
</ds:datastoreItem>
</file>

<file path=customXml/itemProps50.xml><?xml version="1.0" encoding="utf-8"?>
<ds:datastoreItem xmlns:ds="http://schemas.openxmlformats.org/officeDocument/2006/customXml" ds:itemID="{3EFDF013-933E-4ED0-BE0F-E3524472B238}">
  <ds:schemaRefs/>
</ds:datastoreItem>
</file>

<file path=customXml/itemProps51.xml><?xml version="1.0" encoding="utf-8"?>
<ds:datastoreItem xmlns:ds="http://schemas.openxmlformats.org/officeDocument/2006/customXml" ds:itemID="{AE495BA7-65D5-424C-9BFC-2E43F2E24C59}">
  <ds:schemaRefs/>
</ds:datastoreItem>
</file>

<file path=customXml/itemProps52.xml><?xml version="1.0" encoding="utf-8"?>
<ds:datastoreItem xmlns:ds="http://schemas.openxmlformats.org/officeDocument/2006/customXml" ds:itemID="{49EE4208-111E-464C-9E4C-59A157EC6462}">
  <ds:schemaRefs/>
</ds:datastoreItem>
</file>

<file path=customXml/itemProps53.xml><?xml version="1.0" encoding="utf-8"?>
<ds:datastoreItem xmlns:ds="http://schemas.openxmlformats.org/officeDocument/2006/customXml" ds:itemID="{F7CC2BF2-EDB1-4F78-B4A4-16BA78E88DA2}">
  <ds:schemaRefs/>
</ds:datastoreItem>
</file>

<file path=customXml/itemProps54.xml><?xml version="1.0" encoding="utf-8"?>
<ds:datastoreItem xmlns:ds="http://schemas.openxmlformats.org/officeDocument/2006/customXml" ds:itemID="{6CA90447-56B1-42A7-BB1A-CA9C20CF65FE}">
  <ds:schemaRefs/>
</ds:datastoreItem>
</file>

<file path=customXml/itemProps55.xml><?xml version="1.0" encoding="utf-8"?>
<ds:datastoreItem xmlns:ds="http://schemas.openxmlformats.org/officeDocument/2006/customXml" ds:itemID="{05A8CA9E-9CBD-4C9B-A7D3-5E417C9EB9B1}">
  <ds:schemaRefs/>
</ds:datastoreItem>
</file>

<file path=customXml/itemProps56.xml><?xml version="1.0" encoding="utf-8"?>
<ds:datastoreItem xmlns:ds="http://schemas.openxmlformats.org/officeDocument/2006/customXml" ds:itemID="{C8405F98-C722-445B-B84B-C0C6CD014DD4}">
  <ds:schemaRefs>
    <ds:schemaRef ds:uri="http://schemas.microsoft.com/sharepoint/v3/contenttype/forms"/>
  </ds:schemaRefs>
</ds:datastoreItem>
</file>

<file path=customXml/itemProps57.xml><?xml version="1.0" encoding="utf-8"?>
<ds:datastoreItem xmlns:ds="http://schemas.openxmlformats.org/officeDocument/2006/customXml" ds:itemID="{B3874746-6D43-4E77-B670-3AB578D2F0D1}">
  <ds:schemaRefs/>
</ds:datastoreItem>
</file>

<file path=customXml/itemProps58.xml><?xml version="1.0" encoding="utf-8"?>
<ds:datastoreItem xmlns:ds="http://schemas.openxmlformats.org/officeDocument/2006/customXml" ds:itemID="{AC73A328-1F82-48D8-B284-3168BD76B1EF}">
  <ds:schemaRefs/>
</ds:datastoreItem>
</file>

<file path=customXml/itemProps59.xml><?xml version="1.0" encoding="utf-8"?>
<ds:datastoreItem xmlns:ds="http://schemas.openxmlformats.org/officeDocument/2006/customXml" ds:itemID="{0F470306-7DA1-48B5-8DE2-A908BEE744FE}">
  <ds:schemaRefs/>
</ds:datastoreItem>
</file>

<file path=customXml/itemProps6.xml><?xml version="1.0" encoding="utf-8"?>
<ds:datastoreItem xmlns:ds="http://schemas.openxmlformats.org/officeDocument/2006/customXml" ds:itemID="{1623A762-3713-49E8-B551-95E0C45C8DB5}">
  <ds:schemaRefs/>
</ds:datastoreItem>
</file>

<file path=customXml/itemProps60.xml><?xml version="1.0" encoding="utf-8"?>
<ds:datastoreItem xmlns:ds="http://schemas.openxmlformats.org/officeDocument/2006/customXml" ds:itemID="{8A687EFD-6B3A-4BA2-8B33-AD7ABFD63FF9}">
  <ds:schemaRefs/>
</ds:datastoreItem>
</file>

<file path=customXml/itemProps61.xml><?xml version="1.0" encoding="utf-8"?>
<ds:datastoreItem xmlns:ds="http://schemas.openxmlformats.org/officeDocument/2006/customXml" ds:itemID="{59732751-774C-49C2-97D1-05934B8A501D}">
  <ds:schemaRefs/>
</ds:datastoreItem>
</file>

<file path=customXml/itemProps62.xml><?xml version="1.0" encoding="utf-8"?>
<ds:datastoreItem xmlns:ds="http://schemas.openxmlformats.org/officeDocument/2006/customXml" ds:itemID="{41D6E017-01F1-4E37-96F5-180D9C925EF3}">
  <ds:schemaRefs>
    <ds:schemaRef ds:uri="http://schemas.microsoft.com/office/2006/metadata/properties"/>
    <ds:schemaRef ds:uri="http://schemas.microsoft.com/office/infopath/2007/PartnerControls"/>
    <ds:schemaRef ds:uri="http://schemas.microsoft.com/sharepoint/v3"/>
    <ds:schemaRef ds:uri="22a3f1e7-1ad8-4567-967d-700183da1d1b"/>
    <ds:schemaRef ds:uri="aacb7df8-672f-46f2-977f-893ce5cef86b"/>
  </ds:schemaRefs>
</ds:datastoreItem>
</file>

<file path=customXml/itemProps63.xml><?xml version="1.0" encoding="utf-8"?>
<ds:datastoreItem xmlns:ds="http://schemas.openxmlformats.org/officeDocument/2006/customXml" ds:itemID="{4F4F8550-2CB1-47F3-8F45-096A9446AB47}">
  <ds:schemaRefs/>
</ds:datastoreItem>
</file>

<file path=customXml/itemProps64.xml><?xml version="1.0" encoding="utf-8"?>
<ds:datastoreItem xmlns:ds="http://schemas.openxmlformats.org/officeDocument/2006/customXml" ds:itemID="{F94BD503-C202-4094-98D5-35F66253C21F}">
  <ds:schemaRefs/>
</ds:datastoreItem>
</file>

<file path=customXml/itemProps65.xml><?xml version="1.0" encoding="utf-8"?>
<ds:datastoreItem xmlns:ds="http://schemas.openxmlformats.org/officeDocument/2006/customXml" ds:itemID="{219BCFE4-9557-40D1-A129-ED3C7AC19558}">
  <ds:schemaRefs/>
</ds:datastoreItem>
</file>

<file path=customXml/itemProps66.xml><?xml version="1.0" encoding="utf-8"?>
<ds:datastoreItem xmlns:ds="http://schemas.openxmlformats.org/officeDocument/2006/customXml" ds:itemID="{D42DBD5E-EBDB-40C0-99F9-E962A6906DC6}">
  <ds:schemaRefs/>
</ds:datastoreItem>
</file>

<file path=customXml/itemProps67.xml><?xml version="1.0" encoding="utf-8"?>
<ds:datastoreItem xmlns:ds="http://schemas.openxmlformats.org/officeDocument/2006/customXml" ds:itemID="{D27EF595-84A7-4EF2-81C9-C65E7ECD2B75}">
  <ds:schemaRefs/>
</ds:datastoreItem>
</file>

<file path=customXml/itemProps68.xml><?xml version="1.0" encoding="utf-8"?>
<ds:datastoreItem xmlns:ds="http://schemas.openxmlformats.org/officeDocument/2006/customXml" ds:itemID="{929E3883-0461-4A0A-A41A-E24418B1181D}">
  <ds:schemaRefs/>
</ds:datastoreItem>
</file>

<file path=customXml/itemProps69.xml><?xml version="1.0" encoding="utf-8"?>
<ds:datastoreItem xmlns:ds="http://schemas.openxmlformats.org/officeDocument/2006/customXml" ds:itemID="{2985C3E5-7AA4-4C14-8F67-B02E48487FC4}">
  <ds:schemaRefs/>
</ds:datastoreItem>
</file>

<file path=customXml/itemProps7.xml><?xml version="1.0" encoding="utf-8"?>
<ds:datastoreItem xmlns:ds="http://schemas.openxmlformats.org/officeDocument/2006/customXml" ds:itemID="{A93968C8-79D2-40C2-AA6A-E5CF27C06767}">
  <ds:schemaRefs/>
</ds:datastoreItem>
</file>

<file path=customXml/itemProps70.xml><?xml version="1.0" encoding="utf-8"?>
<ds:datastoreItem xmlns:ds="http://schemas.openxmlformats.org/officeDocument/2006/customXml" ds:itemID="{3862A31C-7885-4B5D-A437-E954D222B670}">
  <ds:schemaRefs/>
</ds:datastoreItem>
</file>

<file path=customXml/itemProps71.xml><?xml version="1.0" encoding="utf-8"?>
<ds:datastoreItem xmlns:ds="http://schemas.openxmlformats.org/officeDocument/2006/customXml" ds:itemID="{80871626-EE0E-48A4-9B6D-30333F94AF75}">
  <ds:schemaRefs/>
</ds:datastoreItem>
</file>

<file path=customXml/itemProps72.xml><?xml version="1.0" encoding="utf-8"?>
<ds:datastoreItem xmlns:ds="http://schemas.openxmlformats.org/officeDocument/2006/customXml" ds:itemID="{4CB9EB1C-73E5-424E-9491-BB90094936BA}">
  <ds:schemaRefs/>
</ds:datastoreItem>
</file>

<file path=customXml/itemProps73.xml><?xml version="1.0" encoding="utf-8"?>
<ds:datastoreItem xmlns:ds="http://schemas.openxmlformats.org/officeDocument/2006/customXml" ds:itemID="{A02A8DAE-C682-4ACC-A481-38DFF93278E7}">
  <ds:schemaRefs/>
</ds:datastoreItem>
</file>

<file path=customXml/itemProps74.xml><?xml version="1.0" encoding="utf-8"?>
<ds:datastoreItem xmlns:ds="http://schemas.openxmlformats.org/officeDocument/2006/customXml" ds:itemID="{F6EECF88-F133-4ECD-B89D-A5A4508C5701}">
  <ds:schemaRefs/>
</ds:datastoreItem>
</file>

<file path=customXml/itemProps75.xml><?xml version="1.0" encoding="utf-8"?>
<ds:datastoreItem xmlns:ds="http://schemas.openxmlformats.org/officeDocument/2006/customXml" ds:itemID="{AF51B68F-08F5-4930-AEAD-2C0CB595FF5E}">
  <ds:schemaRefs/>
</ds:datastoreItem>
</file>

<file path=customXml/itemProps76.xml><?xml version="1.0" encoding="utf-8"?>
<ds:datastoreItem xmlns:ds="http://schemas.openxmlformats.org/officeDocument/2006/customXml" ds:itemID="{79D29191-14D5-4CA2-B011-A29B7D3B2574}">
  <ds:schemaRefs/>
</ds:datastoreItem>
</file>

<file path=customXml/itemProps77.xml><?xml version="1.0" encoding="utf-8"?>
<ds:datastoreItem xmlns:ds="http://schemas.openxmlformats.org/officeDocument/2006/customXml" ds:itemID="{BE10E55E-EE7A-4C63-8329-707DD98F1CA1}">
  <ds:schemaRefs/>
</ds:datastoreItem>
</file>

<file path=customXml/itemProps78.xml><?xml version="1.0" encoding="utf-8"?>
<ds:datastoreItem xmlns:ds="http://schemas.openxmlformats.org/officeDocument/2006/customXml" ds:itemID="{F05EAA7F-7C44-4B73-A336-CB6385CDC890}">
  <ds:schemaRefs/>
</ds:datastoreItem>
</file>

<file path=customXml/itemProps79.xml><?xml version="1.0" encoding="utf-8"?>
<ds:datastoreItem xmlns:ds="http://schemas.openxmlformats.org/officeDocument/2006/customXml" ds:itemID="{6A3791DC-EBB9-464A-B2A7-89A3F226BF66}">
  <ds:schemaRefs/>
</ds:datastoreItem>
</file>

<file path=customXml/itemProps8.xml><?xml version="1.0" encoding="utf-8"?>
<ds:datastoreItem xmlns:ds="http://schemas.openxmlformats.org/officeDocument/2006/customXml" ds:itemID="{07B82EE2-D6BE-47F4-9E1B-E3EEA8EE0C89}">
  <ds:schemaRefs/>
</ds:datastoreItem>
</file>

<file path=customXml/itemProps80.xml><?xml version="1.0" encoding="utf-8"?>
<ds:datastoreItem xmlns:ds="http://schemas.openxmlformats.org/officeDocument/2006/customXml" ds:itemID="{DA78F8BC-8607-439D-9C99-34B906A8FC3A}">
  <ds:schemaRefs/>
</ds:datastoreItem>
</file>

<file path=customXml/itemProps81.xml><?xml version="1.0" encoding="utf-8"?>
<ds:datastoreItem xmlns:ds="http://schemas.openxmlformats.org/officeDocument/2006/customXml" ds:itemID="{192C6274-42E5-49DF-82BB-C3ED3772E3F3}">
  <ds:schemaRefs/>
</ds:datastoreItem>
</file>

<file path=customXml/itemProps82.xml><?xml version="1.0" encoding="utf-8"?>
<ds:datastoreItem xmlns:ds="http://schemas.openxmlformats.org/officeDocument/2006/customXml" ds:itemID="{BCEA34B0-18BF-48D7-A5BE-56CDC63308F6}">
  <ds:schemaRefs/>
</ds:datastoreItem>
</file>

<file path=customXml/itemProps83.xml><?xml version="1.0" encoding="utf-8"?>
<ds:datastoreItem xmlns:ds="http://schemas.openxmlformats.org/officeDocument/2006/customXml" ds:itemID="{EF96521E-71B8-49C2-AB63-9AAC8BC68B18}">
  <ds:schemaRefs/>
</ds:datastoreItem>
</file>

<file path=customXml/itemProps84.xml><?xml version="1.0" encoding="utf-8"?>
<ds:datastoreItem xmlns:ds="http://schemas.openxmlformats.org/officeDocument/2006/customXml" ds:itemID="{4730ED08-70BC-4B40-812E-88C29792DDE1}">
  <ds:schemaRefs/>
</ds:datastoreItem>
</file>

<file path=customXml/itemProps85.xml><?xml version="1.0" encoding="utf-8"?>
<ds:datastoreItem xmlns:ds="http://schemas.openxmlformats.org/officeDocument/2006/customXml" ds:itemID="{6CAFF71A-FEFD-47DC-A0A5-BAA1B0072340}">
  <ds:schemaRefs/>
</ds:datastoreItem>
</file>

<file path=customXml/itemProps86.xml><?xml version="1.0" encoding="utf-8"?>
<ds:datastoreItem xmlns:ds="http://schemas.openxmlformats.org/officeDocument/2006/customXml" ds:itemID="{2BFBE676-F56D-49C6-9F23-54C0DD7D188C}">
  <ds:schemaRefs/>
</ds:datastoreItem>
</file>

<file path=customXml/itemProps87.xml><?xml version="1.0" encoding="utf-8"?>
<ds:datastoreItem xmlns:ds="http://schemas.openxmlformats.org/officeDocument/2006/customXml" ds:itemID="{73B033D8-93FD-4C34-803F-7C57EDDCD5C6}">
  <ds:schemaRefs/>
</ds:datastoreItem>
</file>

<file path=customXml/itemProps88.xml><?xml version="1.0" encoding="utf-8"?>
<ds:datastoreItem xmlns:ds="http://schemas.openxmlformats.org/officeDocument/2006/customXml" ds:itemID="{71710B75-BD4B-46DC-9457-7EAAF4434C49}">
  <ds:schemaRefs/>
</ds:datastoreItem>
</file>

<file path=customXml/itemProps89.xml><?xml version="1.0" encoding="utf-8"?>
<ds:datastoreItem xmlns:ds="http://schemas.openxmlformats.org/officeDocument/2006/customXml" ds:itemID="{7FC209B4-E05B-4A77-812E-FC2630E37404}">
  <ds:schemaRefs/>
</ds:datastoreItem>
</file>

<file path=customXml/itemProps9.xml><?xml version="1.0" encoding="utf-8"?>
<ds:datastoreItem xmlns:ds="http://schemas.openxmlformats.org/officeDocument/2006/customXml" ds:itemID="{804ADE72-B7EB-40C9-BE3F-51BE226CA7DB}">
  <ds:schemaRefs/>
</ds:datastoreItem>
</file>

<file path=customXml/itemProps90.xml><?xml version="1.0" encoding="utf-8"?>
<ds:datastoreItem xmlns:ds="http://schemas.openxmlformats.org/officeDocument/2006/customXml" ds:itemID="{13F54403-8217-4B8C-940E-E44B48F6D647}">
  <ds:schemaRefs/>
</ds:datastoreItem>
</file>

<file path=customXml/itemProps91.xml><?xml version="1.0" encoding="utf-8"?>
<ds:datastoreItem xmlns:ds="http://schemas.openxmlformats.org/officeDocument/2006/customXml" ds:itemID="{631F2F8E-175C-4D5D-9393-9BC1B51D9D37}">
  <ds:schemaRefs/>
</ds:datastoreItem>
</file>

<file path=customXml/itemProps92.xml><?xml version="1.0" encoding="utf-8"?>
<ds:datastoreItem xmlns:ds="http://schemas.openxmlformats.org/officeDocument/2006/customXml" ds:itemID="{82D7D5F3-D145-4EFB-9454-2C855979621B}">
  <ds:schemaRefs/>
</ds:datastoreItem>
</file>

<file path=customXml/itemProps93.xml><?xml version="1.0" encoding="utf-8"?>
<ds:datastoreItem xmlns:ds="http://schemas.openxmlformats.org/officeDocument/2006/customXml" ds:itemID="{7CB44182-C439-4650-B654-9AD851075BF9}">
  <ds:schemaRefs/>
</ds:datastoreItem>
</file>

<file path=customXml/itemProps94.xml><?xml version="1.0" encoding="utf-8"?>
<ds:datastoreItem xmlns:ds="http://schemas.openxmlformats.org/officeDocument/2006/customXml" ds:itemID="{F612E287-E052-46B3-9456-BCFFA77D8E13}">
  <ds:schemaRefs/>
</ds:datastoreItem>
</file>

<file path=customXml/itemProps95.xml><?xml version="1.0" encoding="utf-8"?>
<ds:datastoreItem xmlns:ds="http://schemas.openxmlformats.org/officeDocument/2006/customXml" ds:itemID="{0A225C83-C706-48C5-9E64-A68CE28FA8A6}">
  <ds:schemaRefs/>
</ds:datastoreItem>
</file>

<file path=customXml/itemProps96.xml><?xml version="1.0" encoding="utf-8"?>
<ds:datastoreItem xmlns:ds="http://schemas.openxmlformats.org/officeDocument/2006/customXml" ds:itemID="{8576DEC5-C24D-460D-BEC4-8A3DD082F332}">
  <ds:schemaRefs/>
</ds:datastoreItem>
</file>

<file path=customXml/itemProps97.xml><?xml version="1.0" encoding="utf-8"?>
<ds:datastoreItem xmlns:ds="http://schemas.openxmlformats.org/officeDocument/2006/customXml" ds:itemID="{68165570-EBB1-4748-B108-03C3437B8E2A}">
  <ds:schemaRefs/>
</ds:datastoreItem>
</file>

<file path=customXml/itemProps98.xml><?xml version="1.0" encoding="utf-8"?>
<ds:datastoreItem xmlns:ds="http://schemas.openxmlformats.org/officeDocument/2006/customXml" ds:itemID="{8BFA9D05-6EBA-4941-B1D4-D8F3ACC2DFF3}">
  <ds:schemaRefs/>
</ds:datastoreItem>
</file>

<file path=customXml/itemProps99.xml><?xml version="1.0" encoding="utf-8"?>
<ds:datastoreItem xmlns:ds="http://schemas.openxmlformats.org/officeDocument/2006/customXml" ds:itemID="{B029C362-D847-42EA-B071-26E6F87B9F20}">
  <ds:schemaRefs/>
</ds:datastoreItem>
</file>

<file path=docProps/app.xml><?xml version="1.0" encoding="utf-8"?>
<Properties xmlns="http://schemas.openxmlformats.org/officeDocument/2006/extended-properties" xmlns:vt="http://schemas.openxmlformats.org/officeDocument/2006/docPropsVTypes">
  <Template/>
  <TotalTime>17</TotalTime>
  <Words>73</Words>
  <Application>Microsoft Office PowerPoint</Application>
  <PresentationFormat>Widescreen</PresentationFormat>
  <Paragraphs>23</Paragraphs>
  <Slides>2</Slides>
  <Notes>1</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vt:i4>
      </vt:variant>
    </vt:vector>
  </HeadingPairs>
  <TitlesOfParts>
    <vt:vector size="9" baseType="lpstr">
      <vt:lpstr>AA Zuehlke</vt:lpstr>
      <vt:lpstr>AA Zuehlke Medium</vt:lpstr>
      <vt:lpstr>Arial</vt:lpstr>
      <vt:lpstr>Symbol</vt:lpstr>
      <vt:lpstr>Wingdings 2</vt:lpstr>
      <vt:lpstr>Zühlke Engineering</vt:lpstr>
      <vt:lpstr>think-cell Folie</vt:lpstr>
      <vt:lpstr>PowerPoint Presentation</vt:lpstr>
      <vt:lpstr>Agenda</vt:lpstr>
    </vt:vector>
  </TitlesOfParts>
  <Company>Zühlke Engineerin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Joanna Zoltowska</dc:creator>
  <dc:description/>
  <cp:lastModifiedBy>Sergey Sokur</cp:lastModifiedBy>
  <cp:revision>281</cp:revision>
  <dcterms:created xsi:type="dcterms:W3CDTF">2022-03-21T09:15:36Z</dcterms:created>
  <dcterms:modified xsi:type="dcterms:W3CDTF">2022-06-29T13:28: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C3CCF29AC71D4428C978BA42A6A441C</vt:lpwstr>
  </property>
  <property fmtid="{D5CDD505-2E9C-101B-9397-08002B2CF9AE}" pid="3" name="MediaServiceImageTags">
    <vt:lpwstr/>
  </property>
  <property fmtid="{D5CDD505-2E9C-101B-9397-08002B2CF9AE}" pid="4" name="TemplafyTimeStamp">
    <vt:lpwstr>2022-05-30T15:55:20</vt:lpwstr>
  </property>
</Properties>
</file>